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8" r:id="rId6"/>
    <p:sldMasterId id="2147483704" r:id="rId7"/>
  </p:sldMasterIdLst>
  <p:notesMasterIdLst>
    <p:notesMasterId r:id="rId23"/>
  </p:notesMasterIdLst>
  <p:handoutMasterIdLst>
    <p:handoutMasterId r:id="rId24"/>
  </p:handoutMasterIdLst>
  <p:sldIdLst>
    <p:sldId id="1087" r:id="rId8"/>
    <p:sldId id="1088" r:id="rId9"/>
    <p:sldId id="1090" r:id="rId10"/>
    <p:sldId id="1100" r:id="rId11"/>
    <p:sldId id="1099" r:id="rId12"/>
    <p:sldId id="1091" r:id="rId13"/>
    <p:sldId id="1092" r:id="rId14"/>
    <p:sldId id="1102" r:id="rId15"/>
    <p:sldId id="1094" r:id="rId16"/>
    <p:sldId id="1097" r:id="rId17"/>
    <p:sldId id="1098" r:id="rId18"/>
    <p:sldId id="1104" r:id="rId19"/>
    <p:sldId id="1103" r:id="rId20"/>
    <p:sldId id="1093" r:id="rId21"/>
    <p:sldId id="1095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4" userDrawn="1">
          <p15:clr>
            <a:srgbClr val="A4A3A4"/>
          </p15:clr>
        </p15:guide>
        <p15:guide id="2" pos="37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CBDBB"/>
    <a:srgbClr val="BA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CCE2DE-2235-47A0-926D-53E4AF8737CF}" v="14" dt="2024-01-25T11:57:24.4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408" y="54"/>
      </p:cViewPr>
      <p:guideLst>
        <p:guide orient="horz" pos="2704"/>
        <p:guide pos="371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Schmitt" userId="S::scan1116@h-ka.de::8063fb94-ab75-422e-8c1a-acc5a068cdc8" providerId="AD" clId="Web-{27FBA170-E72C-4481-8B11-E3FBD8DEEFAB}"/>
    <pc:docChg chg="modSld">
      <pc:chgData name="Andreas Schmitt" userId="S::scan1116@h-ka.de::8063fb94-ab75-422e-8c1a-acc5a068cdc8" providerId="AD" clId="Web-{27FBA170-E72C-4481-8B11-E3FBD8DEEFAB}" dt="2024-01-16T09:40:04.046" v="3" actId="20577"/>
      <pc:docMkLst>
        <pc:docMk/>
      </pc:docMkLst>
      <pc:sldChg chg="modSp">
        <pc:chgData name="Andreas Schmitt" userId="S::scan1116@h-ka.de::8063fb94-ab75-422e-8c1a-acc5a068cdc8" providerId="AD" clId="Web-{27FBA170-E72C-4481-8B11-E3FBD8DEEFAB}" dt="2024-01-16T09:40:04.046" v="3" actId="20577"/>
        <pc:sldMkLst>
          <pc:docMk/>
          <pc:sldMk cId="247068245" sldId="1088"/>
        </pc:sldMkLst>
        <pc:spChg chg="mod">
          <ac:chgData name="Andreas Schmitt" userId="S::scan1116@h-ka.de::8063fb94-ab75-422e-8c1a-acc5a068cdc8" providerId="AD" clId="Web-{27FBA170-E72C-4481-8B11-E3FBD8DEEFAB}" dt="2024-01-16T09:40:04.046" v="3" actId="20577"/>
          <ac:spMkLst>
            <pc:docMk/>
            <pc:sldMk cId="247068245" sldId="1088"/>
            <ac:spMk id="6" creationId="{437EFA70-C4C9-326F-CCD6-A5393B370F3C}"/>
          </ac:spMkLst>
        </pc:spChg>
      </pc:sldChg>
    </pc:docChg>
  </pc:docChgLst>
  <pc:docChgLst>
    <pc:chgData name="Andreas Schmitt" userId="5207b21e-2ba2-46ed-97b4-17ee4e0d2c68" providerId="ADAL" clId="{841604A0-02FB-42F2-A960-D70FAC5CDE15}"/>
    <pc:docChg chg="custSel addSld modSld">
      <pc:chgData name="Andreas Schmitt" userId="5207b21e-2ba2-46ed-97b4-17ee4e0d2c68" providerId="ADAL" clId="{841604A0-02FB-42F2-A960-D70FAC5CDE15}" dt="2024-01-23T17:18:10.115" v="16" actId="729"/>
      <pc:docMkLst>
        <pc:docMk/>
      </pc:docMkLst>
      <pc:sldChg chg="modSp mod">
        <pc:chgData name="Andreas Schmitt" userId="5207b21e-2ba2-46ed-97b4-17ee4e0d2c68" providerId="ADAL" clId="{841604A0-02FB-42F2-A960-D70FAC5CDE15}" dt="2024-01-23T17:16:40.467" v="6"/>
        <pc:sldMkLst>
          <pc:docMk/>
          <pc:sldMk cId="2988925347" sldId="1098"/>
        </pc:sldMkLst>
        <pc:spChg chg="mod">
          <ac:chgData name="Andreas Schmitt" userId="5207b21e-2ba2-46ed-97b4-17ee4e0d2c68" providerId="ADAL" clId="{841604A0-02FB-42F2-A960-D70FAC5CDE15}" dt="2024-01-23T17:16:35.860" v="5" actId="1076"/>
          <ac:spMkLst>
            <pc:docMk/>
            <pc:sldMk cId="2988925347" sldId="1098"/>
            <ac:spMk id="2" creationId="{657A3BA6-B2D0-2FB5-4F5D-16035F781FB7}"/>
          </ac:spMkLst>
        </pc:spChg>
        <pc:graphicFrameChg chg="mod">
          <ac:chgData name="Andreas Schmitt" userId="5207b21e-2ba2-46ed-97b4-17ee4e0d2c68" providerId="ADAL" clId="{841604A0-02FB-42F2-A960-D70FAC5CDE15}" dt="2024-01-23T17:16:40.467" v="6"/>
          <ac:graphicFrameMkLst>
            <pc:docMk/>
            <pc:sldMk cId="2988925347" sldId="1098"/>
            <ac:graphicFrameMk id="7" creationId="{EE744F85-9F12-01F6-E25A-9FBC56D818FC}"/>
          </ac:graphicFrameMkLst>
        </pc:graphicFrameChg>
      </pc:sldChg>
      <pc:sldChg chg="addSp delSp modSp add mod modShow">
        <pc:chgData name="Andreas Schmitt" userId="5207b21e-2ba2-46ed-97b4-17ee4e0d2c68" providerId="ADAL" clId="{841604A0-02FB-42F2-A960-D70FAC5CDE15}" dt="2024-01-23T17:18:10.115" v="16" actId="729"/>
        <pc:sldMkLst>
          <pc:docMk/>
          <pc:sldMk cId="3587079978" sldId="1104"/>
        </pc:sldMkLst>
        <pc:graphicFrameChg chg="add mod">
          <ac:chgData name="Andreas Schmitt" userId="5207b21e-2ba2-46ed-97b4-17ee4e0d2c68" providerId="ADAL" clId="{841604A0-02FB-42F2-A960-D70FAC5CDE15}" dt="2024-01-23T17:17:48.347" v="15" actId="14100"/>
          <ac:graphicFrameMkLst>
            <pc:docMk/>
            <pc:sldMk cId="3587079978" sldId="1104"/>
            <ac:graphicFrameMk id="3" creationId="{596ECFA4-3E20-975E-9F8A-010B6EACD89A}"/>
          </ac:graphicFrameMkLst>
        </pc:graphicFrameChg>
        <pc:graphicFrameChg chg="del">
          <ac:chgData name="Andreas Schmitt" userId="5207b21e-2ba2-46ed-97b4-17ee4e0d2c68" providerId="ADAL" clId="{841604A0-02FB-42F2-A960-D70FAC5CDE15}" dt="2024-01-23T17:16:23.341" v="1" actId="478"/>
          <ac:graphicFrameMkLst>
            <pc:docMk/>
            <pc:sldMk cId="3587079978" sldId="1104"/>
            <ac:graphicFrameMk id="7" creationId="{EE744F85-9F12-01F6-E25A-9FBC56D818FC}"/>
          </ac:graphicFrameMkLst>
        </pc:graphicFrameChg>
      </pc:sldChg>
    </pc:docChg>
  </pc:docChgLst>
  <pc:docChgLst>
    <pc:chgData name="Andreas Schmitt" userId="8063fb94-ab75-422e-8c1a-acc5a068cdc8" providerId="ADAL" clId="{C3138BE1-057E-4C5C-9F83-3E0F110F44B9}"/>
    <pc:docChg chg="undo custSel addSld delSld modSld sldOrd modMainMaster delSection modSection">
      <pc:chgData name="Andreas Schmitt" userId="8063fb94-ab75-422e-8c1a-acc5a068cdc8" providerId="ADAL" clId="{C3138BE1-057E-4C5C-9F83-3E0F110F44B9}" dt="2024-01-15T20:22:19.811" v="4555" actId="14100"/>
      <pc:docMkLst>
        <pc:docMk/>
      </pc:docMkLst>
      <pc:sldChg chg="modSp mod">
        <pc:chgData name="Andreas Schmitt" userId="8063fb94-ab75-422e-8c1a-acc5a068cdc8" providerId="ADAL" clId="{C3138BE1-057E-4C5C-9F83-3E0F110F44B9}" dt="2024-01-15T20:20:04.094" v="4546" actId="1076"/>
        <pc:sldMkLst>
          <pc:docMk/>
          <pc:sldMk cId="1923399112" sldId="1087"/>
        </pc:sldMkLst>
        <pc:spChg chg="mod">
          <ac:chgData name="Andreas Schmitt" userId="8063fb94-ab75-422e-8c1a-acc5a068cdc8" providerId="ADAL" clId="{C3138BE1-057E-4C5C-9F83-3E0F110F44B9}" dt="2024-01-12T16:09:34.881" v="204"/>
          <ac:spMkLst>
            <pc:docMk/>
            <pc:sldMk cId="1923399112" sldId="1087"/>
            <ac:spMk id="5" creationId="{D3A0CF6D-C744-42AF-A6EB-5FAE6838D8D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new mod modTransition modClrScheme chgLayout">
        <pc:chgData name="Andreas Schmitt" userId="8063fb94-ab75-422e-8c1a-acc5a068cdc8" providerId="ADAL" clId="{C3138BE1-057E-4C5C-9F83-3E0F110F44B9}" dt="2024-01-15T14:16:48.917" v="3138"/>
        <pc:sldMkLst>
          <pc:docMk/>
          <pc:sldMk cId="247068245" sldId="1088"/>
        </pc:sldMkLst>
        <pc:spChg chg="mod ord">
          <ac:chgData name="Andreas Schmitt" userId="8063fb94-ab75-422e-8c1a-acc5a068cdc8" providerId="ADAL" clId="{C3138BE1-057E-4C5C-9F83-3E0F110F44B9}" dt="2024-01-12T16:18:56.298" v="757" actId="113"/>
          <ac:spMkLst>
            <pc:docMk/>
            <pc:sldMk cId="247068245" sldId="1088"/>
            <ac:spMk id="2" creationId="{44C56CB1-D69B-B0F9-515C-AC29B276B499}"/>
          </ac:spMkLst>
        </pc:spChg>
        <pc:spChg chg="del 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3" creationId="{C92CB8EA-41AD-CEA6-7048-F714603A9414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4" creationId="{F7715382-EA65-5E6F-96EE-0252E8961F58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5" creationId="{A73ECE9B-DB68-C3DB-4386-4BBB8AC9C17B}"/>
          </ac:spMkLst>
        </pc:spChg>
        <pc:spChg chg="add mod ord">
          <ac:chgData name="Andreas Schmitt" userId="8063fb94-ab75-422e-8c1a-acc5a068cdc8" providerId="ADAL" clId="{C3138BE1-057E-4C5C-9F83-3E0F110F44B9}" dt="2024-01-12T16:33:33.416" v="1054" actId="20577"/>
          <ac:spMkLst>
            <pc:docMk/>
            <pc:sldMk cId="247068245" sldId="1088"/>
            <ac:spMk id="6" creationId="{437EFA70-C4C9-326F-CCD6-A5393B370F3C}"/>
          </ac:spMkLst>
        </pc:spChg>
        <pc:picChg chg="add mod ord">
          <ac:chgData name="Andreas Schmitt" userId="8063fb94-ab75-422e-8c1a-acc5a068cdc8" providerId="ADAL" clId="{C3138BE1-057E-4C5C-9F83-3E0F110F44B9}" dt="2024-01-12T16:33:46.665" v="1059" actId="14100"/>
          <ac:picMkLst>
            <pc:docMk/>
            <pc:sldMk cId="247068245" sldId="1088"/>
            <ac:picMk id="8" creationId="{0B796783-ACEB-DC0C-855A-471943A51150}"/>
          </ac:picMkLst>
        </pc:picChg>
      </pc:sldChg>
      <pc:sldChg chg="modSp new del mod">
        <pc:chgData name="Andreas Schmitt" userId="8063fb94-ab75-422e-8c1a-acc5a068cdc8" providerId="ADAL" clId="{C3138BE1-057E-4C5C-9F83-3E0F110F44B9}" dt="2024-01-12T16:24:41.388" v="839" actId="2696"/>
        <pc:sldMkLst>
          <pc:docMk/>
          <pc:sldMk cId="60643830" sldId="1089"/>
        </pc:sldMkLst>
        <pc:spChg chg="mod">
          <ac:chgData name="Andreas Schmitt" userId="8063fb94-ab75-422e-8c1a-acc5a068cdc8" providerId="ADAL" clId="{C3138BE1-057E-4C5C-9F83-3E0F110F44B9}" dt="2024-01-12T16:19:02.468" v="758" actId="113"/>
          <ac:spMkLst>
            <pc:docMk/>
            <pc:sldMk cId="60643830" sldId="1089"/>
            <ac:spMk id="2" creationId="{B837F3B9-21CF-3953-AC50-A461B7B4A4D6}"/>
          </ac:spMkLst>
        </pc:spChg>
        <pc:spChg chg="mod">
          <ac:chgData name="Andreas Schmitt" userId="8063fb94-ab75-422e-8c1a-acc5a068cdc8" providerId="ADAL" clId="{C3138BE1-057E-4C5C-9F83-3E0F110F44B9}" dt="2024-01-12T16:22:36.269" v="838" actId="20577"/>
          <ac:spMkLst>
            <pc:docMk/>
            <pc:sldMk cId="60643830" sldId="1089"/>
            <ac:spMk id="3" creationId="{57F3E2CD-3248-ACDA-BE4E-29FCEB86FD04}"/>
          </ac:spMkLst>
        </pc:spChg>
      </pc:sldChg>
      <pc:sldChg chg="addSp delSp modSp new del mod modClrScheme chgLayout">
        <pc:chgData name="Andreas Schmitt" userId="8063fb94-ab75-422e-8c1a-acc5a068cdc8" providerId="ADAL" clId="{C3138BE1-057E-4C5C-9F83-3E0F110F44B9}" dt="2024-01-14T17:57:05.764" v="1812" actId="2696"/>
        <pc:sldMkLst>
          <pc:docMk/>
          <pc:sldMk cId="4248761520" sldId="1089"/>
        </pc:sldMkLst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2" creationId="{B526D6ED-44C8-325A-1E42-4012CBC8B708}"/>
          </ac:spMkLst>
        </pc:spChg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3" creationId="{EA2CFD25-DA6A-8A97-5291-DDA10606B669}"/>
          </ac:spMkLst>
        </pc:spChg>
        <pc:spChg chg="del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4" creationId="{8D803734-5E6F-7B7B-EE93-4767023733D3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5" creationId="{478ED241-B55E-A272-CA44-F27C9A74D5CE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6" creationId="{814C0E9B-989A-D55E-ACD1-7132F318CF2C}"/>
          </ac:spMkLst>
        </pc:spChg>
        <pc:spChg chg="add mod ord">
          <ac:chgData name="Andreas Schmitt" userId="8063fb94-ab75-422e-8c1a-acc5a068cdc8" providerId="ADAL" clId="{C3138BE1-057E-4C5C-9F83-3E0F110F44B9}" dt="2024-01-12T16:25:25.669" v="900" actId="113"/>
          <ac:spMkLst>
            <pc:docMk/>
            <pc:sldMk cId="4248761520" sldId="1089"/>
            <ac:spMk id="7" creationId="{CC7E273C-972F-B2F2-3E61-A71BAC2AD62D}"/>
          </ac:spMkLst>
        </pc:spChg>
        <pc:spChg chg="add mod ord">
          <ac:chgData name="Andreas Schmitt" userId="8063fb94-ab75-422e-8c1a-acc5a068cdc8" providerId="ADAL" clId="{C3138BE1-057E-4C5C-9F83-3E0F110F44B9}" dt="2024-01-12T16:56:15.804" v="1741" actId="20577"/>
          <ac:spMkLst>
            <pc:docMk/>
            <pc:sldMk cId="4248761520" sldId="1089"/>
            <ac:spMk id="8" creationId="{E3A6B3C8-6F75-EB43-A1A7-16036EE670BB}"/>
          </ac:spMkLst>
        </pc:spChg>
        <pc:picChg chg="add del mod">
          <ac:chgData name="Andreas Schmitt" userId="8063fb94-ab75-422e-8c1a-acc5a068cdc8" providerId="ADAL" clId="{C3138BE1-057E-4C5C-9F83-3E0F110F44B9}" dt="2024-01-14T17:48:31.130" v="1753" actId="478"/>
          <ac:picMkLst>
            <pc:docMk/>
            <pc:sldMk cId="4248761520" sldId="1089"/>
            <ac:picMk id="3" creationId="{ACE84CC1-7508-4A57-5B32-73753DE6CDE6}"/>
          </ac:picMkLst>
        </pc:picChg>
        <pc:picChg chg="add del mod">
          <ac:chgData name="Andreas Schmitt" userId="8063fb94-ab75-422e-8c1a-acc5a068cdc8" providerId="ADAL" clId="{C3138BE1-057E-4C5C-9F83-3E0F110F44B9}" dt="2024-01-14T17:49:36.461" v="1756" actId="478"/>
          <ac:picMkLst>
            <pc:docMk/>
            <pc:sldMk cId="4248761520" sldId="1089"/>
            <ac:picMk id="9" creationId="{1863F5DB-F591-210C-8638-CA129E0CF4E8}"/>
          </ac:picMkLst>
        </pc:picChg>
        <pc:picChg chg="add del mod">
          <ac:chgData name="Andreas Schmitt" userId="8063fb94-ab75-422e-8c1a-acc5a068cdc8" providerId="ADAL" clId="{C3138BE1-057E-4C5C-9F83-3E0F110F44B9}" dt="2024-01-14T17:48:09.689" v="1747" actId="478"/>
          <ac:picMkLst>
            <pc:docMk/>
            <pc:sldMk cId="4248761520" sldId="1089"/>
            <ac:picMk id="10" creationId="{201CED52-2338-859A-4774-C1A7187AF16E}"/>
          </ac:picMkLst>
        </pc:picChg>
        <pc:picChg chg="add del mod">
          <ac:chgData name="Andreas Schmitt" userId="8063fb94-ab75-422e-8c1a-acc5a068cdc8" providerId="ADAL" clId="{C3138BE1-057E-4C5C-9F83-3E0F110F44B9}" dt="2024-01-14T17:50:11.857" v="1759" actId="478"/>
          <ac:picMkLst>
            <pc:docMk/>
            <pc:sldMk cId="4248761520" sldId="1089"/>
            <ac:picMk id="12" creationId="{629D840C-63FA-1A37-EC3D-06AE65418D45}"/>
          </ac:picMkLst>
        </pc:picChg>
        <pc:picChg chg="add del mod">
          <ac:chgData name="Andreas Schmitt" userId="8063fb94-ab75-422e-8c1a-acc5a068cdc8" providerId="ADAL" clId="{C3138BE1-057E-4C5C-9F83-3E0F110F44B9}" dt="2024-01-14T17:52:44.638" v="1762" actId="478"/>
          <ac:picMkLst>
            <pc:docMk/>
            <pc:sldMk cId="4248761520" sldId="1089"/>
            <ac:picMk id="14" creationId="{9166A476-4A98-44D5-FEC6-CEE1B6EBF3E9}"/>
          </ac:picMkLst>
        </pc:picChg>
        <pc:picChg chg="add mod">
          <ac:chgData name="Andreas Schmitt" userId="8063fb94-ab75-422e-8c1a-acc5a068cdc8" providerId="ADAL" clId="{C3138BE1-057E-4C5C-9F83-3E0F110F44B9}" dt="2024-01-14T17:53:59.576" v="1768" actId="1076"/>
          <ac:picMkLst>
            <pc:docMk/>
            <pc:sldMk cId="4248761520" sldId="1089"/>
            <ac:picMk id="16" creationId="{C54D5905-1C94-7EA4-4395-6E18190A3767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38.900" v="4188" actId="20577"/>
        <pc:sldMkLst>
          <pc:docMk/>
          <pc:sldMk cId="4061517964" sldId="1090"/>
        </pc:sldMkLst>
        <pc:spChg chg="del">
          <ac:chgData name="Andreas Schmitt" userId="8063fb94-ab75-422e-8c1a-acc5a068cdc8" providerId="ADAL" clId="{C3138BE1-057E-4C5C-9F83-3E0F110F44B9}" dt="2024-01-15T14:12:29.744" v="3096" actId="478"/>
          <ac:spMkLst>
            <pc:docMk/>
            <pc:sldMk cId="4061517964" sldId="109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38.900" v="4188" actId="20577"/>
          <ac:spMkLst>
            <pc:docMk/>
            <pc:sldMk cId="4061517964" sldId="1090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47.640" v="2076" actId="20577"/>
          <ac:spMkLst>
            <pc:docMk/>
            <pc:sldMk cId="4061517964" sldId="1090"/>
            <ac:spMk id="8" creationId="{E3A6B3C8-6F75-EB43-A1A7-16036EE670BB}"/>
          </ac:spMkLst>
        </pc:spChg>
        <pc:picChg chg="add del mod modCrop">
          <ac:chgData name="Andreas Schmitt" userId="8063fb94-ab75-422e-8c1a-acc5a068cdc8" providerId="ADAL" clId="{C3138BE1-057E-4C5C-9F83-3E0F110F44B9}" dt="2024-01-14T17:57:01.651" v="1810" actId="478"/>
          <ac:picMkLst>
            <pc:docMk/>
            <pc:sldMk cId="4061517964" sldId="1090"/>
            <ac:picMk id="3" creationId="{1E5AF583-0FD0-44F5-B274-B45142022DAD}"/>
          </ac:picMkLst>
        </pc:picChg>
        <pc:picChg chg="add mod">
          <ac:chgData name="Andreas Schmitt" userId="8063fb94-ab75-422e-8c1a-acc5a068cdc8" providerId="ADAL" clId="{C3138BE1-057E-4C5C-9F83-3E0F110F44B9}" dt="2024-01-15T14:17:27.099" v="3142" actId="14100"/>
          <ac:picMkLst>
            <pc:docMk/>
            <pc:sldMk cId="4061517964" sldId="1090"/>
            <ac:picMk id="3" creationId="{D636A417-C9F9-BEC1-EDB8-B104FDC6910C}"/>
          </ac:picMkLst>
        </pc:picChg>
        <pc:picChg chg="add del mod">
          <ac:chgData name="Andreas Schmitt" userId="8063fb94-ab75-422e-8c1a-acc5a068cdc8" providerId="ADAL" clId="{C3138BE1-057E-4C5C-9F83-3E0F110F44B9}" dt="2024-01-14T19:10:45.990" v="2783" actId="478"/>
          <ac:picMkLst>
            <pc:docMk/>
            <pc:sldMk cId="4061517964" sldId="1090"/>
            <ac:picMk id="4" creationId="{5D985260-26AB-CF3A-00F3-6C01C76499E2}"/>
          </ac:picMkLst>
        </pc:picChg>
        <pc:picChg chg="add mod">
          <ac:chgData name="Andreas Schmitt" userId="8063fb94-ab75-422e-8c1a-acc5a068cdc8" providerId="ADAL" clId="{C3138BE1-057E-4C5C-9F83-3E0F110F44B9}" dt="2024-01-14T19:10:54.210" v="2789" actId="1076"/>
          <ac:picMkLst>
            <pc:docMk/>
            <pc:sldMk cId="4061517964" sldId="1090"/>
            <ac:picMk id="10" creationId="{678A82E2-71D7-7F4B-B7DE-473715EFA10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20:20:19.607" v="4548" actId="1076"/>
        <pc:sldMkLst>
          <pc:docMk/>
          <pc:sldMk cId="3609810263" sldId="1091"/>
        </pc:sldMkLst>
        <pc:spChg chg="add del mod">
          <ac:chgData name="Andreas Schmitt" userId="8063fb94-ab75-422e-8c1a-acc5a068cdc8" providerId="ADAL" clId="{C3138BE1-057E-4C5C-9F83-3E0F110F44B9}" dt="2024-01-15T13:36:59.799" v="2998" actId="21"/>
          <ac:spMkLst>
            <pc:docMk/>
            <pc:sldMk cId="3609810263" sldId="1091"/>
            <ac:spMk id="2" creationId="{FCD40A34-3A0B-2B75-669C-284BF31B3AD3}"/>
          </ac:spMkLst>
        </pc:spChg>
        <pc:spChg chg="add del mod">
          <ac:chgData name="Andreas Schmitt" userId="8063fb94-ab75-422e-8c1a-acc5a068cdc8" providerId="ADAL" clId="{C3138BE1-057E-4C5C-9F83-3E0F110F44B9}" dt="2024-01-15T14:14:29.942" v="3119" actId="478"/>
          <ac:spMkLst>
            <pc:docMk/>
            <pc:sldMk cId="3609810263" sldId="1091"/>
            <ac:spMk id="3" creationId="{FCD40A34-3A0B-2B75-669C-284BF31B3AD3}"/>
          </ac:spMkLst>
        </pc:spChg>
        <pc:spChg chg="mod">
          <ac:chgData name="Andreas Schmitt" userId="8063fb94-ab75-422e-8c1a-acc5a068cdc8" providerId="ADAL" clId="{C3138BE1-057E-4C5C-9F83-3E0F110F44B9}" dt="2024-01-12T16:26:18.386" v="972" actId="20577"/>
          <ac:spMkLst>
            <pc:docMk/>
            <pc:sldMk cId="3609810263" sldId="1091"/>
            <ac:spMk id="7" creationId="{CC7E273C-972F-B2F2-3E61-A71BAC2AD62D}"/>
          </ac:spMkLst>
        </pc:spChg>
        <pc:spChg chg="mod ord">
          <ac:chgData name="Andreas Schmitt" userId="8063fb94-ab75-422e-8c1a-acc5a068cdc8" providerId="ADAL" clId="{C3138BE1-057E-4C5C-9F83-3E0F110F44B9}" dt="2024-01-15T15:23:26.135" v="3179" actId="14100"/>
          <ac:spMkLst>
            <pc:docMk/>
            <pc:sldMk cId="3609810263" sldId="1091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5T14:14:42.368" v="3125" actId="14100"/>
          <ac:picMkLst>
            <pc:docMk/>
            <pc:sldMk cId="3609810263" sldId="1091"/>
            <ac:picMk id="2" creationId="{7E57EC7B-DFD6-3C44-1207-7AF78E762029}"/>
          </ac:picMkLst>
        </pc:picChg>
        <pc:picChg chg="add del mod">
          <ac:chgData name="Andreas Schmitt" userId="8063fb94-ab75-422e-8c1a-acc5a068cdc8" providerId="ADAL" clId="{C3138BE1-057E-4C5C-9F83-3E0F110F44B9}" dt="2024-01-14T18:03:04.487" v="1816" actId="478"/>
          <ac:picMkLst>
            <pc:docMk/>
            <pc:sldMk cId="3609810263" sldId="1091"/>
            <ac:picMk id="3" creationId="{DF5C4E5D-7379-6337-711A-C7BBAF7E7398}"/>
          </ac:picMkLst>
        </pc:picChg>
        <pc:picChg chg="add mod">
          <ac:chgData name="Andreas Schmitt" userId="8063fb94-ab75-422e-8c1a-acc5a068cdc8" providerId="ADAL" clId="{C3138BE1-057E-4C5C-9F83-3E0F110F44B9}" dt="2024-01-15T20:20:19.607" v="4548" actId="1076"/>
          <ac:picMkLst>
            <pc:docMk/>
            <pc:sldMk cId="3609810263" sldId="1091"/>
            <ac:picMk id="4" creationId="{E592F87C-B783-479B-BB70-21B4684F8E9D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8.736" v="4190"/>
        <pc:sldMkLst>
          <pc:docMk/>
          <pc:sldMk cId="454951695" sldId="1092"/>
        </pc:sldMkLst>
        <pc:spChg chg="add del mod">
          <ac:chgData name="Andreas Schmitt" userId="8063fb94-ab75-422e-8c1a-acc5a068cdc8" providerId="ADAL" clId="{C3138BE1-057E-4C5C-9F83-3E0F110F44B9}" dt="2024-01-15T14:16:25.967" v="3127" actId="478"/>
          <ac:spMkLst>
            <pc:docMk/>
            <pc:sldMk cId="454951695" sldId="1092"/>
            <ac:spMk id="2" creationId="{F8F02E77-64D9-8275-A5CA-43029B63F5B5}"/>
          </ac:spMkLst>
        </pc:spChg>
        <pc:spChg chg="mod">
          <ac:chgData name="Andreas Schmitt" userId="8063fb94-ab75-422e-8c1a-acc5a068cdc8" providerId="ADAL" clId="{C3138BE1-057E-4C5C-9F83-3E0F110F44B9}" dt="2024-01-15T19:57:48.736" v="4190"/>
          <ac:spMkLst>
            <pc:docMk/>
            <pc:sldMk cId="454951695" sldId="1092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05.633" v="2055" actId="20577"/>
          <ac:spMkLst>
            <pc:docMk/>
            <pc:sldMk cId="454951695" sldId="1092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4T18:08:06.085" v="2005" actId="1076"/>
          <ac:picMkLst>
            <pc:docMk/>
            <pc:sldMk cId="454951695" sldId="1092"/>
            <ac:picMk id="3" creationId="{C2F50365-7FB8-5DDE-F84C-820B43765C1E}"/>
          </ac:picMkLst>
        </pc:picChg>
        <pc:picChg chg="add mod">
          <ac:chgData name="Andreas Schmitt" userId="8063fb94-ab75-422e-8c1a-acc5a068cdc8" providerId="ADAL" clId="{C3138BE1-057E-4C5C-9F83-3E0F110F44B9}" dt="2024-01-15T14:18:13.830" v="3143" actId="1076"/>
          <ac:picMkLst>
            <pc:docMk/>
            <pc:sldMk cId="454951695" sldId="1092"/>
            <ac:picMk id="9" creationId="{57A1C6F1-9E18-04A8-687A-8CF287371ECF}"/>
          </ac:picMkLst>
        </pc:picChg>
      </pc:sldChg>
      <pc:sldChg chg="addSp delSp modSp new mod ord modClrScheme modShow chgLayout">
        <pc:chgData name="Andreas Schmitt" userId="8063fb94-ab75-422e-8c1a-acc5a068cdc8" providerId="ADAL" clId="{C3138BE1-057E-4C5C-9F83-3E0F110F44B9}" dt="2024-01-15T19:24:01.234" v="4025" actId="729"/>
        <pc:sldMkLst>
          <pc:docMk/>
          <pc:sldMk cId="652909132" sldId="1093"/>
        </pc:sldMkLst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2" creationId="{FB91F133-01B2-3978-19D4-4A06FA94B7B0}"/>
          </ac:spMkLst>
        </pc:spChg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3" creationId="{8C26D539-F478-D18F-A913-2EE6C9CEFF34}"/>
          </ac:spMkLst>
        </pc:spChg>
        <pc:spChg chg="del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4" creationId="{8832BEE5-A9A5-9C64-BD17-EBA422C26A4F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5" creationId="{CF9CD25A-4A7E-C531-4F3C-E4B3D5F65AD0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6" creationId="{8F6792F4-7012-1436-AD60-C39F9F93E2DC}"/>
          </ac:spMkLst>
        </pc:spChg>
        <pc:spChg chg="add mod ord">
          <ac:chgData name="Andreas Schmitt" userId="8063fb94-ab75-422e-8c1a-acc5a068cdc8" providerId="ADAL" clId="{C3138BE1-057E-4C5C-9F83-3E0F110F44B9}" dt="2024-01-15T18:36:44.429" v="3292" actId="20577"/>
          <ac:spMkLst>
            <pc:docMk/>
            <pc:sldMk cId="652909132" sldId="1093"/>
            <ac:spMk id="7" creationId="{F4107B4B-9F72-84D2-EA78-63D00C77B50B}"/>
          </ac:spMkLst>
        </pc:spChg>
        <pc:spChg chg="add del mod ord">
          <ac:chgData name="Andreas Schmitt" userId="8063fb94-ab75-422e-8c1a-acc5a068cdc8" providerId="ADAL" clId="{C3138BE1-057E-4C5C-9F83-3E0F110F44B9}" dt="2024-01-12T16:37:55.108" v="1146" actId="478"/>
          <ac:spMkLst>
            <pc:docMk/>
            <pc:sldMk cId="652909132" sldId="1093"/>
            <ac:spMk id="8" creationId="{C6027A34-6040-3F87-3E25-A0C03D546650}"/>
          </ac:spMkLst>
        </pc:spChg>
        <pc:spChg chg="add del mod">
          <ac:chgData name="Andreas Schmitt" userId="8063fb94-ab75-422e-8c1a-acc5a068cdc8" providerId="ADAL" clId="{C3138BE1-057E-4C5C-9F83-3E0F110F44B9}" dt="2024-01-12T16:37:57.455" v="1147" actId="478"/>
          <ac:spMkLst>
            <pc:docMk/>
            <pc:sldMk cId="652909132" sldId="1093"/>
            <ac:spMk id="11" creationId="{CC1DA3A1-E511-823C-BABC-7E2AFF3A9BBA}"/>
          </ac:spMkLst>
        </pc:spChg>
        <pc:graphicFrameChg chg="add mod modGraphic">
          <ac:chgData name="Andreas Schmitt" userId="8063fb94-ab75-422e-8c1a-acc5a068cdc8" providerId="ADAL" clId="{C3138BE1-057E-4C5C-9F83-3E0F110F44B9}" dt="2024-01-15T14:27:38.247" v="3150" actId="14734"/>
          <ac:graphicFrameMkLst>
            <pc:docMk/>
            <pc:sldMk cId="652909132" sldId="1093"/>
            <ac:graphicFrameMk id="9" creationId="{86A39DE1-121B-AE6D-3AD9-1B7513E8ED46}"/>
          </ac:graphicFrameMkLst>
        </pc:graphicFrameChg>
      </pc:sldChg>
      <pc:sldChg chg="addSp delSp modSp new mod">
        <pc:chgData name="Andreas Schmitt" userId="8063fb94-ab75-422e-8c1a-acc5a068cdc8" providerId="ADAL" clId="{C3138BE1-057E-4C5C-9F83-3E0F110F44B9}" dt="2024-01-15T18:59:30.322" v="3350"/>
        <pc:sldMkLst>
          <pc:docMk/>
          <pc:sldMk cId="3111353975" sldId="1094"/>
        </pc:sldMkLst>
        <pc:spChg chg="mod">
          <ac:chgData name="Andreas Schmitt" userId="8063fb94-ab75-422e-8c1a-acc5a068cdc8" providerId="ADAL" clId="{C3138BE1-057E-4C5C-9F83-3E0F110F44B9}" dt="2024-01-12T16:27:39.200" v="1042" actId="113"/>
          <ac:spMkLst>
            <pc:docMk/>
            <pc:sldMk cId="3111353975" sldId="1094"/>
            <ac:spMk id="2" creationId="{657A3BA6-B2D0-2FB5-4F5D-16035F781FB7}"/>
          </ac:spMkLst>
        </pc:spChg>
        <pc:spChg chg="del mod">
          <ac:chgData name="Andreas Schmitt" userId="8063fb94-ab75-422e-8c1a-acc5a068cdc8" providerId="ADAL" clId="{C3138BE1-057E-4C5C-9F83-3E0F110F44B9}" dt="2024-01-14T18:26:04.565" v="2257" actId="478"/>
          <ac:spMkLst>
            <pc:docMk/>
            <pc:sldMk cId="3111353975" sldId="1094"/>
            <ac:spMk id="3" creationId="{33A6CABB-4BAF-1162-3D3D-B40EABF24B4B}"/>
          </ac:spMkLst>
        </pc:spChg>
        <pc:spChg chg="del">
          <ac:chgData name="Andreas Schmitt" userId="8063fb94-ab75-422e-8c1a-acc5a068cdc8" providerId="ADAL" clId="{C3138BE1-057E-4C5C-9F83-3E0F110F44B9}" dt="2024-01-14T18:21:39.909" v="2138" actId="478"/>
          <ac:spMkLst>
            <pc:docMk/>
            <pc:sldMk cId="3111353975" sldId="1094"/>
            <ac:spMk id="6" creationId="{965EB4DE-5658-931B-47A4-5983D1E379F4}"/>
          </ac:spMkLst>
        </pc:spChg>
        <pc:spChg chg="del">
          <ac:chgData name="Andreas Schmitt" userId="8063fb94-ab75-422e-8c1a-acc5a068cdc8" providerId="ADAL" clId="{C3138BE1-057E-4C5C-9F83-3E0F110F44B9}" dt="2024-01-14T18:21:50.497" v="2144" actId="478"/>
          <ac:spMkLst>
            <pc:docMk/>
            <pc:sldMk cId="3111353975" sldId="1094"/>
            <ac:spMk id="7" creationId="{6358756C-57FC-13A1-6FE0-19DF27B814E1}"/>
          </ac:spMkLst>
        </pc:spChg>
        <pc:spChg chg="del">
          <ac:chgData name="Andreas Schmitt" userId="8063fb94-ab75-422e-8c1a-acc5a068cdc8" providerId="ADAL" clId="{C3138BE1-057E-4C5C-9F83-3E0F110F44B9}" dt="2024-01-14T18:21:49.937" v="2143" actId="478"/>
          <ac:spMkLst>
            <pc:docMk/>
            <pc:sldMk cId="3111353975" sldId="1094"/>
            <ac:spMk id="8" creationId="{EA4E5397-F94D-2289-0FFD-4AF6298C057A}"/>
          </ac:spMkLst>
        </pc:spChg>
        <pc:spChg chg="del">
          <ac:chgData name="Andreas Schmitt" userId="8063fb94-ab75-422e-8c1a-acc5a068cdc8" providerId="ADAL" clId="{C3138BE1-057E-4C5C-9F83-3E0F110F44B9}" dt="2024-01-14T18:21:51.060" v="2145" actId="478"/>
          <ac:spMkLst>
            <pc:docMk/>
            <pc:sldMk cId="3111353975" sldId="1094"/>
            <ac:spMk id="9" creationId="{DBA3133A-00E5-D666-7584-0C71148810C1}"/>
          </ac:spMkLst>
        </pc:spChg>
        <pc:spChg chg="del">
          <ac:chgData name="Andreas Schmitt" userId="8063fb94-ab75-422e-8c1a-acc5a068cdc8" providerId="ADAL" clId="{C3138BE1-057E-4C5C-9F83-3E0F110F44B9}" dt="2024-01-14T18:21:51.468" v="2146" actId="478"/>
          <ac:spMkLst>
            <pc:docMk/>
            <pc:sldMk cId="3111353975" sldId="1094"/>
            <ac:spMk id="10" creationId="{3B42BBB8-9768-3648-6471-8E1AC28E3FA5}"/>
          </ac:spMkLst>
        </pc:spChg>
        <pc:spChg chg="del">
          <ac:chgData name="Andreas Schmitt" userId="8063fb94-ab75-422e-8c1a-acc5a068cdc8" providerId="ADAL" clId="{C3138BE1-057E-4C5C-9F83-3E0F110F44B9}" dt="2024-01-14T18:21:40.688" v="2139" actId="478"/>
          <ac:spMkLst>
            <pc:docMk/>
            <pc:sldMk cId="3111353975" sldId="1094"/>
            <ac:spMk id="11" creationId="{5D302232-D948-1DA0-56BB-035020D32B25}"/>
          </ac:spMkLst>
        </pc:spChg>
        <pc:graphicFrameChg chg="add del mod">
          <ac:chgData name="Andreas Schmitt" userId="8063fb94-ab75-422e-8c1a-acc5a068cdc8" providerId="ADAL" clId="{C3138BE1-057E-4C5C-9F83-3E0F110F44B9}" dt="2024-01-15T13:44:28.342" v="3067" actId="478"/>
          <ac:graphicFrameMkLst>
            <pc:docMk/>
            <pc:sldMk cId="3111353975" sldId="1094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30:47.137" v="3245" actId="478"/>
          <ac:graphicFrameMkLst>
            <pc:docMk/>
            <pc:sldMk cId="3111353975" sldId="1094"/>
            <ac:graphicFrameMk id="6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7:46.804" v="3334" actId="478"/>
          <ac:graphicFrameMkLst>
            <pc:docMk/>
            <pc:sldMk cId="3111353975" sldId="1094"/>
            <ac:graphicFrameMk id="7" creationId="{CA22F5D4-F383-A44D-1771-2225E2C676A1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30.322" v="3350"/>
          <ac:graphicFrameMkLst>
            <pc:docMk/>
            <pc:sldMk cId="3111353975" sldId="1094"/>
            <ac:graphicFrameMk id="8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4T22:28:52.334" v="2875" actId="478"/>
          <ac:graphicFrameMkLst>
            <pc:docMk/>
            <pc:sldMk cId="3111353975" sldId="1094"/>
            <ac:graphicFrameMk id="14" creationId="{EA9B10E4-9E8C-4292-5AE2-5B2D3E5745C7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14:20.439" v="3180" actId="478"/>
          <ac:graphicFrameMkLst>
            <pc:docMk/>
            <pc:sldMk cId="3111353975" sldId="1094"/>
            <ac:graphicFrameMk id="15" creationId="{CC94FD49-BA51-8AE4-C10F-A4518A15A308}"/>
          </ac:graphicFrameMkLst>
        </pc:graphicFrameChg>
        <pc:picChg chg="add del mod">
          <ac:chgData name="Andreas Schmitt" userId="8063fb94-ab75-422e-8c1a-acc5a068cdc8" providerId="ADAL" clId="{C3138BE1-057E-4C5C-9F83-3E0F110F44B9}" dt="2024-01-15T18:19:06.837" v="3189" actId="478"/>
          <ac:picMkLst>
            <pc:docMk/>
            <pc:sldMk cId="3111353975" sldId="1094"/>
            <ac:picMk id="3" creationId="{CE93BF35-DD5E-F6AC-AB06-F2A26E79E0CF}"/>
          </ac:picMkLst>
        </pc:picChg>
      </pc:sldChg>
      <pc:sldChg chg="addSp delSp modSp mod modClrScheme chgLayout">
        <pc:chgData name="Andreas Schmitt" userId="8063fb94-ab75-422e-8c1a-acc5a068cdc8" providerId="ADAL" clId="{C3138BE1-057E-4C5C-9F83-3E0F110F44B9}" dt="2024-01-14T18:50:07.100" v="2336" actId="20577"/>
        <pc:sldMkLst>
          <pc:docMk/>
          <pc:sldMk cId="3443239777" sldId="1095"/>
        </pc:sldMkLst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2" creationId="{6C339943-E84A-C303-2AF0-1F1F51C8C558}"/>
          </ac:spMkLst>
        </pc:spChg>
        <pc:spChg chg="mod ord">
          <ac:chgData name="Andreas Schmitt" userId="8063fb94-ab75-422e-8c1a-acc5a068cdc8" providerId="ADAL" clId="{C3138BE1-057E-4C5C-9F83-3E0F110F44B9}" dt="2024-01-14T18:50:07.100" v="2336" actId="20577"/>
          <ac:spMkLst>
            <pc:docMk/>
            <pc:sldMk cId="3443239777" sldId="1095"/>
            <ac:spMk id="3" creationId="{153EF5A8-56F7-F33B-23D7-6B6D62104FBA}"/>
          </ac:spMkLst>
        </pc:spChg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4" creationId="{3BF4B337-BB88-BC32-9A9C-40845ACF886C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5" creationId="{A7D2C74A-36FC-D0F6-6CBC-FA79BFFDFC29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6" creationId="{A43A5F7E-B2AD-7018-F87E-C19B7C973F4E}"/>
          </ac:spMkLst>
        </pc:spChg>
        <pc:spChg chg="add mod ord">
          <ac:chgData name="Andreas Schmitt" userId="8063fb94-ab75-422e-8c1a-acc5a068cdc8" providerId="ADAL" clId="{C3138BE1-057E-4C5C-9F83-3E0F110F44B9}" dt="2024-01-14T18:13:34.934" v="2091" actId="113"/>
          <ac:spMkLst>
            <pc:docMk/>
            <pc:sldMk cId="3443239777" sldId="1095"/>
            <ac:spMk id="7" creationId="{3BCD8115-239F-EA1E-4987-888F20D60B1D}"/>
          </ac:spMkLst>
        </pc:spChg>
      </pc:sldChg>
      <pc:sldChg chg="del">
        <pc:chgData name="Andreas Schmitt" userId="8063fb94-ab75-422e-8c1a-acc5a068cdc8" providerId="ADAL" clId="{C3138BE1-057E-4C5C-9F83-3E0F110F44B9}" dt="2024-01-14T18:47:37.726" v="2335" actId="2696"/>
        <pc:sldMkLst>
          <pc:docMk/>
          <pc:sldMk cId="3040228872" sldId="1096"/>
        </pc:sldMkLst>
      </pc:sldChg>
      <pc:sldChg chg="addSp delSp modSp add mod modTransition">
        <pc:chgData name="Andreas Schmitt" userId="8063fb94-ab75-422e-8c1a-acc5a068cdc8" providerId="ADAL" clId="{C3138BE1-057E-4C5C-9F83-3E0F110F44B9}" dt="2024-01-15T18:53:07.368" v="3318" actId="20577"/>
        <pc:sldMkLst>
          <pc:docMk/>
          <pc:sldMk cId="2819956607" sldId="1097"/>
        </pc:sldMkLst>
        <pc:graphicFrameChg chg="add del mod">
          <ac:chgData name="Andreas Schmitt" userId="8063fb94-ab75-422e-8c1a-acc5a068cdc8" providerId="ADAL" clId="{C3138BE1-057E-4C5C-9F83-3E0F110F44B9}" dt="2024-01-15T18:49:41.492" v="3293" actId="478"/>
          <ac:graphicFrameMkLst>
            <pc:docMk/>
            <pc:sldMk cId="2819956607" sldId="1097"/>
            <ac:graphicFrameMk id="3" creationId="{CC94FD49-BA51-8AE4-C10F-A4518A15A308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3:07.368" v="3318" actId="20577"/>
          <ac:graphicFrameMkLst>
            <pc:docMk/>
            <pc:sldMk cId="2819956607" sldId="1097"/>
            <ac:graphicFrameMk id="6" creationId="{AF695791-3B01-DCE6-C787-4BE655F03BEB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3:49.720" v="2882" actId="478"/>
          <ac:graphicFrameMkLst>
            <pc:docMk/>
            <pc:sldMk cId="2819956607" sldId="1097"/>
            <ac:graphicFrameMk id="14" creationId="{EA9B10E4-9E8C-4292-5AE2-5B2D3E5745C7}"/>
          </ac:graphicFrameMkLst>
        </pc:graphicFrameChg>
      </pc:sldChg>
      <pc:sldChg chg="addSp delSp modSp add mod modTransition">
        <pc:chgData name="Andreas Schmitt" userId="8063fb94-ab75-422e-8c1a-acc5a068cdc8" providerId="ADAL" clId="{C3138BE1-057E-4C5C-9F83-3E0F110F44B9}" dt="2024-01-15T18:59:17.761" v="3349" actId="113"/>
        <pc:sldMkLst>
          <pc:docMk/>
          <pc:sldMk cId="2988925347" sldId="1098"/>
        </pc:sldMkLst>
        <pc:graphicFrameChg chg="add del mod">
          <ac:chgData name="Andreas Schmitt" userId="8063fb94-ab75-422e-8c1a-acc5a068cdc8" providerId="ADAL" clId="{C3138BE1-057E-4C5C-9F83-3E0F110F44B9}" dt="2024-01-15T18:52:59.881" v="3300" actId="478"/>
          <ac:graphicFrameMkLst>
            <pc:docMk/>
            <pc:sldMk cId="2988925347" sldId="1098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9:04.998" v="3343" actId="478"/>
          <ac:graphicFrameMkLst>
            <pc:docMk/>
            <pc:sldMk cId="2988925347" sldId="1098"/>
            <ac:graphicFrameMk id="6" creationId="{EE744F85-9F12-01F6-E25A-9FBC56D818FC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17.761" v="3349" actId="113"/>
          <ac:graphicFrameMkLst>
            <pc:docMk/>
            <pc:sldMk cId="2988925347" sldId="1098"/>
            <ac:graphicFrameMk id="7" creationId="{EE744F85-9F12-01F6-E25A-9FBC56D818FC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6:02.578" v="2921" actId="478"/>
          <ac:graphicFrameMkLst>
            <pc:docMk/>
            <pc:sldMk cId="2988925347" sldId="1098"/>
            <ac:graphicFrameMk id="14" creationId="{EA9B10E4-9E8C-4292-5AE2-5B2D3E5745C7}"/>
          </ac:graphicFrameMkLst>
        </pc:graphicFrameChg>
      </pc:sldChg>
      <pc:sldChg chg="modSp add del">
        <pc:chgData name="Andreas Schmitt" userId="8063fb94-ab75-422e-8c1a-acc5a068cdc8" providerId="ADAL" clId="{C3138BE1-057E-4C5C-9F83-3E0F110F44B9}" dt="2024-01-14T22:38:35.696" v="2971" actId="2696"/>
        <pc:sldMkLst>
          <pc:docMk/>
          <pc:sldMk cId="460472116" sldId="1099"/>
        </pc:sldMkLst>
        <pc:graphicFrameChg chg="mod">
          <ac:chgData name="Andreas Schmitt" userId="8063fb94-ab75-422e-8c1a-acc5a068cdc8" providerId="ADAL" clId="{C3138BE1-057E-4C5C-9F83-3E0F110F44B9}" dt="2024-01-14T18:46:33.411" v="2334" actId="20577"/>
          <ac:graphicFrameMkLst>
            <pc:docMk/>
            <pc:sldMk cId="460472116" sldId="1099"/>
            <ac:graphicFrameMk id="14" creationId="{EA9B10E4-9E8C-4292-5AE2-5B2D3E5745C7}"/>
          </ac:graphicFrameMkLst>
        </pc:graphicFrameChg>
      </pc:sldChg>
      <pc:sldChg chg="addSp delSp modSp mod modTransition">
        <pc:chgData name="Andreas Schmitt" userId="8063fb94-ab75-422e-8c1a-acc5a068cdc8" providerId="ADAL" clId="{C3138BE1-057E-4C5C-9F83-3E0F110F44B9}" dt="2024-01-15T14:16:48.917" v="3138"/>
        <pc:sldMkLst>
          <pc:docMk/>
          <pc:sldMk cId="2319869533" sldId="1099"/>
        </pc:sldMkLst>
        <pc:spChg chg="del mod">
          <ac:chgData name="Andreas Schmitt" userId="8063fb94-ab75-422e-8c1a-acc5a068cdc8" providerId="ADAL" clId="{C3138BE1-057E-4C5C-9F83-3E0F110F44B9}" dt="2024-01-15T14:11:01.075" v="3087" actId="478"/>
          <ac:spMkLst>
            <pc:docMk/>
            <pc:sldMk cId="2319869533" sldId="1099"/>
            <ac:spMk id="8" creationId="{E988E23E-778A-3EA9-AE8D-70D955921104}"/>
          </ac:spMkLst>
        </pc:spChg>
        <pc:picChg chg="add mod">
          <ac:chgData name="Andreas Schmitt" userId="8063fb94-ab75-422e-8c1a-acc5a068cdc8" providerId="ADAL" clId="{C3138BE1-057E-4C5C-9F83-3E0F110F44B9}" dt="2024-01-15T14:11:32.186" v="3090" actId="14100"/>
          <ac:picMkLst>
            <pc:docMk/>
            <pc:sldMk cId="2319869533" sldId="1099"/>
            <ac:picMk id="3" creationId="{23A0C1B4-452A-7DC3-F398-4FD55EFBDE9E}"/>
          </ac:picMkLst>
        </pc:picChg>
        <pc:picChg chg="add mod">
          <ac:chgData name="Andreas Schmitt" userId="8063fb94-ab75-422e-8c1a-acc5a068cdc8" providerId="ADAL" clId="{C3138BE1-057E-4C5C-9F83-3E0F110F44B9}" dt="2024-01-15T14:11:37.683" v="3093" actId="1076"/>
          <ac:picMkLst>
            <pc:docMk/>
            <pc:sldMk cId="2319869533" sldId="1099"/>
            <ac:picMk id="9" creationId="{705B5957-93C3-42E1-FF67-1C376FA761E8}"/>
          </ac:picMkLst>
        </pc:picChg>
        <pc:picChg chg="add mod">
          <ac:chgData name="Andreas Schmitt" userId="8063fb94-ab75-422e-8c1a-acc5a068cdc8" providerId="ADAL" clId="{C3138BE1-057E-4C5C-9F83-3E0F110F44B9}" dt="2024-01-15T14:11:40.411" v="3094" actId="1076"/>
          <ac:picMkLst>
            <pc:docMk/>
            <pc:sldMk cId="2319869533" sldId="1099"/>
            <ac:picMk id="11" creationId="{88F84AEF-1126-109F-FD11-3BC20F38A06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2.149" v="4189"/>
        <pc:sldMkLst>
          <pc:docMk/>
          <pc:sldMk cId="1216549037" sldId="1100"/>
        </pc:sldMkLst>
        <pc:spChg chg="del">
          <ac:chgData name="Andreas Schmitt" userId="8063fb94-ab75-422e-8c1a-acc5a068cdc8" providerId="ADAL" clId="{C3138BE1-057E-4C5C-9F83-3E0F110F44B9}" dt="2024-01-15T14:14:12.458" v="3104" actId="478"/>
          <ac:spMkLst>
            <pc:docMk/>
            <pc:sldMk cId="1216549037" sldId="110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42.149" v="4189"/>
          <ac:spMkLst>
            <pc:docMk/>
            <pc:sldMk cId="1216549037" sldId="1100"/>
            <ac:spMk id="7" creationId="{CC7E273C-972F-B2F2-3E61-A71BAC2AD62D}"/>
          </ac:spMkLst>
        </pc:spChg>
        <pc:picChg chg="add mod">
          <ac:chgData name="Andreas Schmitt" userId="8063fb94-ab75-422e-8c1a-acc5a068cdc8" providerId="ADAL" clId="{C3138BE1-057E-4C5C-9F83-3E0F110F44B9}" dt="2024-01-15T14:17:18.492" v="3141" actId="14100"/>
          <ac:picMkLst>
            <pc:docMk/>
            <pc:sldMk cId="1216549037" sldId="1100"/>
            <ac:picMk id="3" creationId="{C3CE5FCC-0B44-36C5-B783-13255A18387A}"/>
          </ac:picMkLst>
        </pc:picChg>
      </pc:sldChg>
      <pc:sldChg chg="addSp delSp modSp new del mod">
        <pc:chgData name="Andreas Schmitt" userId="8063fb94-ab75-422e-8c1a-acc5a068cdc8" providerId="ADAL" clId="{C3138BE1-057E-4C5C-9F83-3E0F110F44B9}" dt="2024-01-15T20:18:26.031" v="4524" actId="2696"/>
        <pc:sldMkLst>
          <pc:docMk/>
          <pc:sldMk cId="4000893962" sldId="1101"/>
        </pc:sldMkLst>
        <pc:spChg chg="mod">
          <ac:chgData name="Andreas Schmitt" userId="8063fb94-ab75-422e-8c1a-acc5a068cdc8" providerId="ADAL" clId="{C3138BE1-057E-4C5C-9F83-3E0F110F44B9}" dt="2024-01-15T18:35:25.341" v="3282" actId="20577"/>
          <ac:spMkLst>
            <pc:docMk/>
            <pc:sldMk cId="4000893962" sldId="1101"/>
            <ac:spMk id="2" creationId="{604ECDDF-2C9D-28BB-46DB-34D51B9E1058}"/>
          </ac:spMkLst>
        </pc:spChg>
        <pc:spChg chg="mod">
          <ac:chgData name="Andreas Schmitt" userId="8063fb94-ab75-422e-8c1a-acc5a068cdc8" providerId="ADAL" clId="{C3138BE1-057E-4C5C-9F83-3E0F110F44B9}" dt="2024-01-15T19:48:40.196" v="4028" actId="27636"/>
          <ac:spMkLst>
            <pc:docMk/>
            <pc:sldMk cId="4000893962" sldId="1101"/>
            <ac:spMk id="3" creationId="{72B47EB2-3EE4-8A53-1DF6-D47A55ECE0E9}"/>
          </ac:spMkLst>
        </pc:spChg>
        <pc:spChg chg="add mod topLvl">
          <ac:chgData name="Andreas Schmitt" userId="8063fb94-ab75-422e-8c1a-acc5a068cdc8" providerId="ADAL" clId="{C3138BE1-057E-4C5C-9F83-3E0F110F44B9}" dt="2024-01-15T19:52:00.300" v="4071" actId="164"/>
          <ac:spMkLst>
            <pc:docMk/>
            <pc:sldMk cId="4000893962" sldId="1101"/>
            <ac:spMk id="6" creationId="{5203963A-C5C3-6F70-FBE0-4435FACB91BD}"/>
          </ac:spMkLst>
        </pc:spChg>
        <pc:grpChg chg="add del mod">
          <ac:chgData name="Andreas Schmitt" userId="8063fb94-ab75-422e-8c1a-acc5a068cdc8" providerId="ADAL" clId="{C3138BE1-057E-4C5C-9F83-3E0F110F44B9}" dt="2024-01-15T19:50:46.181" v="4061" actId="165"/>
          <ac:grpSpMkLst>
            <pc:docMk/>
            <pc:sldMk cId="4000893962" sldId="1101"/>
            <ac:grpSpMk id="19" creationId="{06E7DF98-C2BA-1063-24B7-5CCFE3B95B45}"/>
          </ac:grpSpMkLst>
        </pc:grpChg>
        <pc:grpChg chg="add mod">
          <ac:chgData name="Andreas Schmitt" userId="8063fb94-ab75-422e-8c1a-acc5a068cdc8" providerId="ADAL" clId="{C3138BE1-057E-4C5C-9F83-3E0F110F44B9}" dt="2024-01-15T19:52:00.300" v="4071" actId="164"/>
          <ac:grpSpMkLst>
            <pc:docMk/>
            <pc:sldMk cId="4000893962" sldId="1101"/>
            <ac:grpSpMk id="21" creationId="{0F023B7F-8676-F696-FF45-CBBE0D523ACD}"/>
          </ac:grpSpMkLst>
        </pc:grpChg>
        <pc:cxnChg chg="add del mod">
          <ac:chgData name="Andreas Schmitt" userId="8063fb94-ab75-422e-8c1a-acc5a068cdc8" providerId="ADAL" clId="{C3138BE1-057E-4C5C-9F83-3E0F110F44B9}" dt="2024-01-15T19:49:06.540" v="4038" actId="11529"/>
          <ac:cxnSpMkLst>
            <pc:docMk/>
            <pc:sldMk cId="4000893962" sldId="1101"/>
            <ac:cxnSpMk id="8" creationId="{2D37C3F7-7273-118A-7D4D-30B66CC3D0D2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1" creationId="{8EDAC4D1-E27B-0914-BBBE-300F06BA3716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3" creationId="{A63322B6-94D4-ED7B-9DB9-C51F4DEDA8B7}"/>
          </ac:cxnSpMkLst>
        </pc:cxnChg>
      </pc:sldChg>
      <pc:sldChg chg="modSp mod">
        <pc:chgData name="Andreas Schmitt" userId="8063fb94-ab75-422e-8c1a-acc5a068cdc8" providerId="ADAL" clId="{C3138BE1-057E-4C5C-9F83-3E0F110F44B9}" dt="2024-01-15T20:20:41.052" v="4551" actId="20577"/>
        <pc:sldMkLst>
          <pc:docMk/>
          <pc:sldMk cId="105000510" sldId="1102"/>
        </pc:sldMkLst>
        <pc:spChg chg="mod">
          <ac:chgData name="Andreas Schmitt" userId="8063fb94-ab75-422e-8c1a-acc5a068cdc8" providerId="ADAL" clId="{C3138BE1-057E-4C5C-9F83-3E0F110F44B9}" dt="2024-01-15T20:20:41.052" v="4551" actId="20577"/>
          <ac:spMkLst>
            <pc:docMk/>
            <pc:sldMk cId="105000510" sldId="1102"/>
            <ac:spMk id="2" creationId="{7B541703-1F97-DF24-4C01-C47367B6B1D8}"/>
          </ac:spMkLst>
        </pc:sp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9" creationId="{38A007D6-D175-6B39-9EE8-41D9E8F8ED0F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0" creationId="{11EA6DC1-BB33-40A9-B59B-9B46853C72B5}"/>
          </ac:picMkLst>
        </pc:pic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11" creationId="{3F01A124-2A57-0190-389A-2630C19E028A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2" creationId="{3B5DC5A6-F667-1692-0C4D-48954876E196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4" creationId="{C0B93AC2-DB70-E7B9-A7EA-8E95BC8F8592}"/>
          </ac:picMkLst>
        </pc:picChg>
      </pc:sldChg>
      <pc:sldChg chg="addSp delSp modSp add mod">
        <pc:chgData name="Andreas Schmitt" userId="8063fb94-ab75-422e-8c1a-acc5a068cdc8" providerId="ADAL" clId="{C3138BE1-057E-4C5C-9F83-3E0F110F44B9}" dt="2024-01-15T20:22:19.811" v="4555" actId="14100"/>
        <pc:sldMkLst>
          <pc:docMk/>
          <pc:sldMk cId="515319957" sldId="1103"/>
        </pc:sldMkLst>
        <pc:spChg chg="del mod">
          <ac:chgData name="Andreas Schmitt" userId="8063fb94-ab75-422e-8c1a-acc5a068cdc8" providerId="ADAL" clId="{C3138BE1-057E-4C5C-9F83-3E0F110F44B9}" dt="2024-01-15T19:55:28.308" v="4124" actId="478"/>
          <ac:spMkLst>
            <pc:docMk/>
            <pc:sldMk cId="515319957" sldId="1103"/>
            <ac:spMk id="3" creationId="{72B47EB2-3EE4-8A53-1DF6-D47A55ECE0E9}"/>
          </ac:spMkLst>
        </pc:spChg>
        <pc:spChg chg="add del mod topLvl">
          <ac:chgData name="Andreas Schmitt" userId="8063fb94-ab75-422e-8c1a-acc5a068cdc8" providerId="ADAL" clId="{C3138BE1-057E-4C5C-9F83-3E0F110F44B9}" dt="2024-01-15T20:12:24.002" v="4457" actId="1076"/>
          <ac:spMkLst>
            <pc:docMk/>
            <pc:sldMk cId="515319957" sldId="1103"/>
            <ac:spMk id="6" creationId="{5203963A-C5C3-6F70-FBE0-4435FACB91BD}"/>
          </ac:spMkLst>
        </pc:spChg>
        <pc:spChg chg="add del mod">
          <ac:chgData name="Andreas Schmitt" userId="8063fb94-ab75-422e-8c1a-acc5a068cdc8" providerId="ADAL" clId="{C3138BE1-057E-4C5C-9F83-3E0F110F44B9}" dt="2024-01-15T19:53:25.174" v="4090" actId="478"/>
          <ac:spMkLst>
            <pc:docMk/>
            <pc:sldMk cId="515319957" sldId="1103"/>
            <ac:spMk id="7" creationId="{BAFE31CE-207C-DA3B-0ED5-84134333E788}"/>
          </ac:spMkLst>
        </pc:spChg>
        <pc:spChg chg="add del mod">
          <ac:chgData name="Andreas Schmitt" userId="8063fb94-ab75-422e-8c1a-acc5a068cdc8" providerId="ADAL" clId="{C3138BE1-057E-4C5C-9F83-3E0F110F44B9}" dt="2024-01-15T20:13:28.886" v="4476" actId="478"/>
          <ac:spMkLst>
            <pc:docMk/>
            <pc:sldMk cId="515319957" sldId="1103"/>
            <ac:spMk id="9" creationId="{78141FE1-0A79-842E-66BC-0C6D76E479E8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2" creationId="{9728A2E8-9672-C378-23C2-FF39E4D7D9CA}"/>
          </ac:spMkLst>
        </pc:spChg>
        <pc:spChg chg="add del mod">
          <ac:chgData name="Andreas Schmitt" userId="8063fb94-ab75-422e-8c1a-acc5a068cdc8" providerId="ADAL" clId="{C3138BE1-057E-4C5C-9F83-3E0F110F44B9}" dt="2024-01-15T20:14:25.866" v="4493" actId="478"/>
          <ac:spMkLst>
            <pc:docMk/>
            <pc:sldMk cId="515319957" sldId="1103"/>
            <ac:spMk id="15" creationId="{72E7EE47-AA7F-C5C7-0C3B-433EA443E30A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7" creationId="{759EB997-06C3-CB0C-49A3-7621598262D6}"/>
          </ac:spMkLst>
        </pc:spChg>
        <pc:spChg chg="add del mod">
          <ac:chgData name="Andreas Schmitt" userId="8063fb94-ab75-422e-8c1a-acc5a068cdc8" providerId="ADAL" clId="{C3138BE1-057E-4C5C-9F83-3E0F110F44B9}" dt="2024-01-15T20:11:00.191" v="4436" actId="478"/>
          <ac:spMkLst>
            <pc:docMk/>
            <pc:sldMk cId="515319957" sldId="1103"/>
            <ac:spMk id="19" creationId="{0A8FFF47-C37B-9A86-66D4-DBAFDA042353}"/>
          </ac:spMkLst>
        </pc:spChg>
        <pc:spChg chg="add mod">
          <ac:chgData name="Andreas Schmitt" userId="8063fb94-ab75-422e-8c1a-acc5a068cdc8" providerId="ADAL" clId="{C3138BE1-057E-4C5C-9F83-3E0F110F44B9}" dt="2024-01-15T20:21:56.094" v="4554" actId="20577"/>
          <ac:spMkLst>
            <pc:docMk/>
            <pc:sldMk cId="515319957" sldId="1103"/>
            <ac:spMk id="22" creationId="{FE30ABCE-7C1B-19CE-B033-9D97D73B76E2}"/>
          </ac:spMkLst>
        </pc:spChg>
        <pc:spChg chg="add mod topLvl">
          <ac:chgData name="Andreas Schmitt" userId="8063fb94-ab75-422e-8c1a-acc5a068cdc8" providerId="ADAL" clId="{C3138BE1-057E-4C5C-9F83-3E0F110F44B9}" dt="2024-01-15T20:16:10.556" v="4516" actId="165"/>
          <ac:spMkLst>
            <pc:docMk/>
            <pc:sldMk cId="515319957" sldId="1103"/>
            <ac:spMk id="34" creationId="{A3F7D684-0942-3988-4B52-D887711E92A6}"/>
          </ac:spMkLst>
        </pc:spChg>
        <pc:spChg chg="mod">
          <ac:chgData name="Andreas Schmitt" userId="8063fb94-ab75-422e-8c1a-acc5a068cdc8" providerId="ADAL" clId="{C3138BE1-057E-4C5C-9F83-3E0F110F44B9}" dt="2024-01-15T20:01:43.579" v="4249"/>
          <ac:spMkLst>
            <pc:docMk/>
            <pc:sldMk cId="515319957" sldId="1103"/>
            <ac:spMk id="38" creationId="{7FEF83C2-0515-F1E9-74E8-985000DC1076}"/>
          </ac:spMkLst>
        </pc:spChg>
        <pc:spChg chg="mod topLvl">
          <ac:chgData name="Andreas Schmitt" userId="8063fb94-ab75-422e-8c1a-acc5a068cdc8" providerId="ADAL" clId="{C3138BE1-057E-4C5C-9F83-3E0F110F44B9}" dt="2024-01-15T20:03:25.972" v="4309" actId="1076"/>
          <ac:spMkLst>
            <pc:docMk/>
            <pc:sldMk cId="515319957" sldId="1103"/>
            <ac:spMk id="41" creationId="{66CFD7AE-B0DE-5184-63A1-F791958ED358}"/>
          </ac:spMkLst>
        </pc:spChg>
        <pc:spChg chg="add del mod">
          <ac:chgData name="Andreas Schmitt" userId="8063fb94-ab75-422e-8c1a-acc5a068cdc8" providerId="ADAL" clId="{C3138BE1-057E-4C5C-9F83-3E0F110F44B9}" dt="2024-01-15T20:07:50.495" v="4380" actId="478"/>
          <ac:spMkLst>
            <pc:docMk/>
            <pc:sldMk cId="515319957" sldId="1103"/>
            <ac:spMk id="47" creationId="{166B438B-0777-F890-A464-CE28521AD07B}"/>
          </ac:spMkLst>
        </pc:spChg>
        <pc:spChg chg="add del mod">
          <ac:chgData name="Andreas Schmitt" userId="8063fb94-ab75-422e-8c1a-acc5a068cdc8" providerId="ADAL" clId="{C3138BE1-057E-4C5C-9F83-3E0F110F44B9}" dt="2024-01-15T20:07:37.439" v="4367" actId="11529"/>
          <ac:spMkLst>
            <pc:docMk/>
            <pc:sldMk cId="515319957" sldId="1103"/>
            <ac:spMk id="48" creationId="{0913D385-8B8A-C9D1-46CA-FA58E2C51C0B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49" creationId="{5630AE94-FCFD-7D9F-EAC2-F81EA6FF5895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0" creationId="{30EB351C-D8E2-73DF-9C31-092A1EE2DD4F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1" creationId="{F1227236-D99B-DBBD-259C-AA891EE12C7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2" creationId="{8079CB0B-DB78-2989-4690-C611AE56683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3" creationId="{D7D2B701-5C3A-FFA5-DCC0-A336B7583263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4" creationId="{3708959E-377F-13B5-0B77-98533FF82C10}"/>
          </ac:spMkLst>
        </pc:spChg>
        <pc:spChg chg="add del mod or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5" creationId="{FA8E7FC1-232F-DB49-D9CE-DACB2D465A54}"/>
          </ac:spMkLst>
        </pc:spChg>
        <pc:spChg chg="add del mo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6" creationId="{32C4A77B-7A0F-FB61-A0CD-4B8F4BE23C7B}"/>
          </ac:spMkLst>
        </pc:spChg>
        <pc:spChg chg="del mod">
          <ac:chgData name="Andreas Schmitt" userId="8063fb94-ab75-422e-8c1a-acc5a068cdc8" providerId="ADAL" clId="{C3138BE1-057E-4C5C-9F83-3E0F110F44B9}" dt="2024-01-15T20:09:42.844" v="4412" actId="478"/>
          <ac:spMkLst>
            <pc:docMk/>
            <pc:sldMk cId="515319957" sldId="1103"/>
            <ac:spMk id="57" creationId="{820D8AC5-1E9B-B007-5450-EB4C13E0BA8B}"/>
          </ac:spMkLst>
        </pc:spChg>
        <pc:spChg chg="del mod">
          <ac:chgData name="Andreas Schmitt" userId="8063fb94-ab75-422e-8c1a-acc5a068cdc8" providerId="ADAL" clId="{C3138BE1-057E-4C5C-9F83-3E0F110F44B9}" dt="2024-01-15T20:10:12.317" v="4421" actId="478"/>
          <ac:spMkLst>
            <pc:docMk/>
            <pc:sldMk cId="515319957" sldId="1103"/>
            <ac:spMk id="58" creationId="{627AB6BB-3789-CFD5-6BBD-BF4AA274B5F0}"/>
          </ac:spMkLst>
        </pc:spChg>
        <pc:spChg chg="add mod">
          <ac:chgData name="Andreas Schmitt" userId="8063fb94-ab75-422e-8c1a-acc5a068cdc8" providerId="ADAL" clId="{C3138BE1-057E-4C5C-9F83-3E0F110F44B9}" dt="2024-01-15T20:17:39.075" v="4521" actId="14100"/>
          <ac:spMkLst>
            <pc:docMk/>
            <pc:sldMk cId="515319957" sldId="1103"/>
            <ac:spMk id="59" creationId="{05A4B35F-E828-4B9C-312B-4CDD73496BFB}"/>
          </ac:spMkLst>
        </pc:spChg>
        <pc:spChg chg="add mod">
          <ac:chgData name="Andreas Schmitt" userId="8063fb94-ab75-422e-8c1a-acc5a068cdc8" providerId="ADAL" clId="{C3138BE1-057E-4C5C-9F83-3E0F110F44B9}" dt="2024-01-15T20:22:19.811" v="4555" actId="14100"/>
          <ac:spMkLst>
            <pc:docMk/>
            <pc:sldMk cId="515319957" sldId="1103"/>
            <ac:spMk id="66" creationId="{8D10BACD-4F99-6513-DEE7-A7812218AC0B}"/>
          </ac:spMkLst>
        </pc:spChg>
        <pc:spChg chg="add mod">
          <ac:chgData name="Andreas Schmitt" userId="8063fb94-ab75-422e-8c1a-acc5a068cdc8" providerId="ADAL" clId="{C3138BE1-057E-4C5C-9F83-3E0F110F44B9}" dt="2024-01-15T20:17:49.203" v="4523" actId="14100"/>
          <ac:spMkLst>
            <pc:docMk/>
            <pc:sldMk cId="515319957" sldId="1103"/>
            <ac:spMk id="68" creationId="{AD29BFE2-69BD-CFC8-4FD2-A772EB3108FE}"/>
          </ac:spMkLst>
        </pc:spChg>
        <pc:grpChg chg="add del mod">
          <ac:chgData name="Andreas Schmitt" userId="8063fb94-ab75-422e-8c1a-acc5a068cdc8" providerId="ADAL" clId="{C3138BE1-057E-4C5C-9F83-3E0F110F44B9}" dt="2024-01-15T20:07:47.349" v="4378" actId="165"/>
          <ac:grpSpMkLst>
            <pc:docMk/>
            <pc:sldMk cId="515319957" sldId="1103"/>
            <ac:grpSpMk id="21" creationId="{0F023B7F-8676-F696-FF45-CBBE0D523ACD}"/>
          </ac:grpSpMkLst>
        </pc:grpChg>
        <pc:grpChg chg="add del mod">
          <ac:chgData name="Andreas Schmitt" userId="8063fb94-ab75-422e-8c1a-acc5a068cdc8" providerId="ADAL" clId="{C3138BE1-057E-4C5C-9F83-3E0F110F44B9}" dt="2024-01-15T20:16:10.556" v="4516" actId="165"/>
          <ac:grpSpMkLst>
            <pc:docMk/>
            <pc:sldMk cId="515319957" sldId="1103"/>
            <ac:grpSpMk id="35" creationId="{B2E721FC-910A-E026-9862-568406B082A5}"/>
          </ac:grpSpMkLst>
        </pc:grpChg>
        <pc:grpChg chg="add mod">
          <ac:chgData name="Andreas Schmitt" userId="8063fb94-ab75-422e-8c1a-acc5a068cdc8" providerId="ADAL" clId="{C3138BE1-057E-4C5C-9F83-3E0F110F44B9}" dt="2024-01-15T20:01:58.851" v="4253" actId="1076"/>
          <ac:grpSpMkLst>
            <pc:docMk/>
            <pc:sldMk cId="515319957" sldId="1103"/>
            <ac:grpSpMk id="36" creationId="{FEE712CB-007E-B62C-CCEF-FF02AA42723C}"/>
          </ac:grpSpMkLst>
        </pc:grpChg>
        <pc:grpChg chg="add del mod">
          <ac:chgData name="Andreas Schmitt" userId="8063fb94-ab75-422e-8c1a-acc5a068cdc8" providerId="ADAL" clId="{C3138BE1-057E-4C5C-9F83-3E0F110F44B9}" dt="2024-01-15T20:02:20.613" v="4258" actId="165"/>
          <ac:grpSpMkLst>
            <pc:docMk/>
            <pc:sldMk cId="515319957" sldId="1103"/>
            <ac:grpSpMk id="39" creationId="{9C8A22C9-4FCE-2C82-5902-5CA878839852}"/>
          </ac:grpSpMkLst>
        </pc:grpChg>
        <pc:picChg chg="add mod">
          <ac:chgData name="Andreas Schmitt" userId="8063fb94-ab75-422e-8c1a-acc5a068cdc8" providerId="ADAL" clId="{C3138BE1-057E-4C5C-9F83-3E0F110F44B9}" dt="2024-01-15T20:13:43.653" v="4482" actId="1076"/>
          <ac:picMkLst>
            <pc:docMk/>
            <pc:sldMk cId="515319957" sldId="1103"/>
            <ac:picMk id="61" creationId="{B877E92D-DE29-15D1-2676-428879F94614}"/>
          </ac:picMkLst>
        </pc:picChg>
        <pc:picChg chg="add mod">
          <ac:chgData name="Andreas Schmitt" userId="8063fb94-ab75-422e-8c1a-acc5a068cdc8" providerId="ADAL" clId="{C3138BE1-057E-4C5C-9F83-3E0F110F44B9}" dt="2024-01-15T20:14:07.654" v="4488" actId="1076"/>
          <ac:picMkLst>
            <pc:docMk/>
            <pc:sldMk cId="515319957" sldId="1103"/>
            <ac:picMk id="67" creationId="{69C14714-BBB1-B075-C3B0-306E4FBAC101}"/>
          </ac:picMkLst>
        </pc:picChg>
        <pc:picChg chg="add mod">
          <ac:chgData name="Andreas Schmitt" userId="8063fb94-ab75-422e-8c1a-acc5a068cdc8" providerId="ADAL" clId="{C3138BE1-057E-4C5C-9F83-3E0F110F44B9}" dt="2024-01-15T20:15:36.816" v="4515" actId="1076"/>
          <ac:picMkLst>
            <pc:docMk/>
            <pc:sldMk cId="515319957" sldId="1103"/>
            <ac:picMk id="69" creationId="{58F7331E-6D2E-FAE2-1EF0-193CA9D3F67D}"/>
          </ac:picMkLst>
        </pc:picChg>
        <pc:cxnChg chg="mod topLvl">
          <ac:chgData name="Andreas Schmitt" userId="8063fb94-ab75-422e-8c1a-acc5a068cdc8" providerId="ADAL" clId="{C3138BE1-057E-4C5C-9F83-3E0F110F44B9}" dt="2024-01-15T20:12:24.002" v="4457" actId="1076"/>
          <ac:cxnSpMkLst>
            <pc:docMk/>
            <pc:sldMk cId="515319957" sldId="1103"/>
            <ac:cxnSpMk id="11" creationId="{8EDAC4D1-E27B-0914-BBBE-300F06BA3716}"/>
          </ac:cxnSpMkLst>
        </pc:cxnChg>
        <pc:cxnChg chg="mod topLvl">
          <ac:chgData name="Andreas Schmitt" userId="8063fb94-ab75-422e-8c1a-acc5a068cdc8" providerId="ADAL" clId="{C3138BE1-057E-4C5C-9F83-3E0F110F44B9}" dt="2024-01-15T20:08:08.292" v="4385" actId="12788"/>
          <ac:cxnSpMkLst>
            <pc:docMk/>
            <pc:sldMk cId="515319957" sldId="1103"/>
            <ac:cxnSpMk id="13" creationId="{A63322B6-94D4-ED7B-9DB9-C51F4DEDA8B7}"/>
          </ac:cxnSpMkLst>
        </pc:cxnChg>
        <pc:cxnChg chg="add 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24" creationId="{81158FE8-20B5-5B08-F7D1-90158D149937}"/>
          </ac:cxnSpMkLst>
        </pc:cxnChg>
        <pc:cxnChg chg="mod">
          <ac:chgData name="Andreas Schmitt" userId="8063fb94-ab75-422e-8c1a-acc5a068cdc8" providerId="ADAL" clId="{C3138BE1-057E-4C5C-9F83-3E0F110F44B9}" dt="2024-01-15T20:01:43.579" v="4249"/>
          <ac:cxnSpMkLst>
            <pc:docMk/>
            <pc:sldMk cId="515319957" sldId="1103"/>
            <ac:cxnSpMk id="37" creationId="{9146B568-90AA-2D23-BCAB-807F05421B88}"/>
          </ac:cxnSpMkLst>
        </pc:cxnChg>
        <pc:cxnChg chg="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40" creationId="{F5BC9ACC-1861-A9E9-B854-1BD88689FB38}"/>
          </ac:cxnSpMkLst>
        </pc:cxnChg>
      </pc:sldChg>
      <pc:sldChg chg="del">
        <pc:chgData name="Andreas Schmitt" userId="8063fb94-ab75-422e-8c1a-acc5a068cdc8" providerId="ADAL" clId="{C3138BE1-057E-4C5C-9F83-3E0F110F44B9}" dt="2024-01-12T16:09:38.349" v="206" actId="47"/>
        <pc:sldMkLst>
          <pc:docMk/>
          <pc:sldMk cId="4124322762" sldId="1546"/>
        </pc:sldMkLst>
      </pc:sldChg>
      <pc:sldChg chg="new del">
        <pc:chgData name="Andreas Schmitt" userId="8063fb94-ab75-422e-8c1a-acc5a068cdc8" providerId="ADAL" clId="{C3138BE1-057E-4C5C-9F83-3E0F110F44B9}" dt="2024-01-12T16:09:37.290" v="205" actId="47"/>
        <pc:sldMkLst>
          <pc:docMk/>
          <pc:sldMk cId="3138726255" sldId="1547"/>
        </pc:sldMkLst>
      </pc:sldChg>
      <pc:sldMasterChg chg="modSp mod modSldLayout">
        <pc:chgData name="Andreas Schmitt" userId="8063fb94-ab75-422e-8c1a-acc5a068cdc8" providerId="ADAL" clId="{C3138BE1-057E-4C5C-9F83-3E0F110F44B9}" dt="2024-01-15T14:25:46.466" v="3148" actId="1076"/>
        <pc:sldMasterMkLst>
          <pc:docMk/>
          <pc:sldMasterMk cId="0" sldId="2147483660"/>
        </pc:sldMasterMkLst>
        <pc:spChg chg="mod">
          <ac:chgData name="Andreas Schmitt" userId="8063fb94-ab75-422e-8c1a-acc5a068cdc8" providerId="ADAL" clId="{C3138BE1-057E-4C5C-9F83-3E0F110F44B9}" dt="2024-01-12T16:07:13.643" v="176" actId="20577"/>
          <ac:spMkLst>
            <pc:docMk/>
            <pc:sldMasterMk cId="0" sldId="2147483660"/>
            <ac:spMk id="18" creationId="{FC3CE225-3EAA-4496-BC66-F52D2CB7AC37}"/>
          </ac:spMkLst>
        </pc:spChg>
        <pc:picChg chg="mod">
          <ac:chgData name="Andreas Schmitt" userId="8063fb94-ab75-422e-8c1a-acc5a068cdc8" providerId="ADAL" clId="{C3138BE1-057E-4C5C-9F83-3E0F110F44B9}" dt="2024-01-15T14:25:46.466" v="3148" actId="1076"/>
          <ac:picMkLst>
            <pc:docMk/>
            <pc:sldMasterMk cId="0" sldId="2147483660"/>
            <ac:picMk id="10" creationId="{00000000-0000-0000-0000-000000000000}"/>
          </ac:picMkLst>
        </pc:picChg>
        <pc:sldLayoutChg chg="modSp mod">
          <pc:chgData name="Andreas Schmitt" userId="8063fb94-ab75-422e-8c1a-acc5a068cdc8" providerId="ADAL" clId="{C3138BE1-057E-4C5C-9F83-3E0F110F44B9}" dt="2024-01-12T16:07:34.331" v="179"/>
          <pc:sldLayoutMkLst>
            <pc:docMk/>
            <pc:sldMasterMk cId="0" sldId="2147483660"/>
            <pc:sldLayoutMk cId="656565112" sldId="2147483661"/>
          </pc:sldLayoutMkLst>
          <pc:spChg chg="mod">
            <ac:chgData name="Andreas Schmitt" userId="8063fb94-ab75-422e-8c1a-acc5a068cdc8" providerId="ADAL" clId="{C3138BE1-057E-4C5C-9F83-3E0F110F44B9}" dt="2024-01-12T16:07:34.331" v="179"/>
            <ac:spMkLst>
              <pc:docMk/>
              <pc:sldMasterMk cId="0" sldId="2147483660"/>
              <pc:sldLayoutMk cId="656565112" sldId="2147483661"/>
              <ac:spMk id="3" creationId="{71B29597-2BA2-49DD-9D50-C072983A6E1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7.036" v="180"/>
          <pc:sldLayoutMkLst>
            <pc:docMk/>
            <pc:sldMasterMk cId="0" sldId="2147483660"/>
            <pc:sldLayoutMk cId="3184635105" sldId="2147483662"/>
          </pc:sldLayoutMkLst>
          <pc:spChg chg="mod">
            <ac:chgData name="Andreas Schmitt" userId="8063fb94-ab75-422e-8c1a-acc5a068cdc8" providerId="ADAL" clId="{C3138BE1-057E-4C5C-9F83-3E0F110F44B9}" dt="2024-01-12T16:07:37.036" v="180"/>
            <ac:spMkLst>
              <pc:docMk/>
              <pc:sldMasterMk cId="0" sldId="2147483660"/>
              <pc:sldLayoutMk cId="3184635105" sldId="2147483662"/>
              <ac:spMk id="3" creationId="{0699D7F4-EBBA-4733-A275-7927AB1754C2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9.468" v="181"/>
          <pc:sldLayoutMkLst>
            <pc:docMk/>
            <pc:sldMasterMk cId="0" sldId="2147483660"/>
            <pc:sldLayoutMk cId="81408906" sldId="2147483663"/>
          </pc:sldLayoutMkLst>
          <pc:spChg chg="mod">
            <ac:chgData name="Andreas Schmitt" userId="8063fb94-ab75-422e-8c1a-acc5a068cdc8" providerId="ADAL" clId="{C3138BE1-057E-4C5C-9F83-3E0F110F44B9}" dt="2024-01-12T16:07:39.468" v="181"/>
            <ac:spMkLst>
              <pc:docMk/>
              <pc:sldMasterMk cId="0" sldId="2147483660"/>
              <pc:sldLayoutMk cId="81408906" sldId="2147483663"/>
              <ac:spMk id="3" creationId="{91DB2BCD-2402-4A6F-9966-FFB1021916E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3.431" v="182"/>
          <pc:sldLayoutMkLst>
            <pc:docMk/>
            <pc:sldMasterMk cId="0" sldId="2147483660"/>
            <pc:sldLayoutMk cId="3890850701" sldId="2147483665"/>
          </pc:sldLayoutMkLst>
          <pc:spChg chg="mod">
            <ac:chgData name="Andreas Schmitt" userId="8063fb94-ab75-422e-8c1a-acc5a068cdc8" providerId="ADAL" clId="{C3138BE1-057E-4C5C-9F83-3E0F110F44B9}" dt="2024-01-12T16:07:43.431" v="182"/>
            <ac:spMkLst>
              <pc:docMk/>
              <pc:sldMasterMk cId="0" sldId="2147483660"/>
              <pc:sldLayoutMk cId="3890850701" sldId="2147483665"/>
              <ac:spMk id="3" creationId="{37E0406B-E9DB-41B9-91DD-6E876B1BA34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7.114" v="183"/>
          <pc:sldLayoutMkLst>
            <pc:docMk/>
            <pc:sldMasterMk cId="0" sldId="2147483660"/>
            <pc:sldLayoutMk cId="1623742428" sldId="2147483672"/>
          </pc:sldLayoutMkLst>
          <pc:spChg chg="mod">
            <ac:chgData name="Andreas Schmitt" userId="8063fb94-ab75-422e-8c1a-acc5a068cdc8" providerId="ADAL" clId="{C3138BE1-057E-4C5C-9F83-3E0F110F44B9}" dt="2024-01-12T16:07:47.114" v="183"/>
            <ac:spMkLst>
              <pc:docMk/>
              <pc:sldMasterMk cId="0" sldId="2147483660"/>
              <pc:sldLayoutMk cId="1623742428" sldId="2147483672"/>
              <ac:spMk id="4" creationId="{F4096A4D-21EC-493B-9169-691F7E254CB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0.213" v="184"/>
          <pc:sldLayoutMkLst>
            <pc:docMk/>
            <pc:sldMasterMk cId="0" sldId="2147483660"/>
            <pc:sldLayoutMk cId="3100048894" sldId="2147483678"/>
          </pc:sldLayoutMkLst>
          <pc:spChg chg="mod">
            <ac:chgData name="Andreas Schmitt" userId="8063fb94-ab75-422e-8c1a-acc5a068cdc8" providerId="ADAL" clId="{C3138BE1-057E-4C5C-9F83-3E0F110F44B9}" dt="2024-01-12T16:07:50.213" v="184"/>
            <ac:spMkLst>
              <pc:docMk/>
              <pc:sldMasterMk cId="0" sldId="2147483660"/>
              <pc:sldLayoutMk cId="3100048894" sldId="2147483678"/>
              <ac:spMk id="3" creationId="{5B945D5E-90DB-4B83-B528-ABF27FB8476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2.217" v="185"/>
          <pc:sldLayoutMkLst>
            <pc:docMk/>
            <pc:sldMasterMk cId="0" sldId="2147483660"/>
            <pc:sldLayoutMk cId="2844666427" sldId="2147483679"/>
          </pc:sldLayoutMkLst>
          <pc:spChg chg="mod">
            <ac:chgData name="Andreas Schmitt" userId="8063fb94-ab75-422e-8c1a-acc5a068cdc8" providerId="ADAL" clId="{C3138BE1-057E-4C5C-9F83-3E0F110F44B9}" dt="2024-01-12T16:07:52.217" v="185"/>
            <ac:spMkLst>
              <pc:docMk/>
              <pc:sldMasterMk cId="0" sldId="2147483660"/>
              <pc:sldLayoutMk cId="2844666427" sldId="2147483679"/>
              <ac:spMk id="5" creationId="{5E3CD0EF-093A-4092-8E66-397F64880C61}"/>
            </ac:spMkLst>
          </pc:spChg>
        </pc:sldLayoutChg>
        <pc:sldLayoutChg chg="addSp modSp">
          <pc:chgData name="Andreas Schmitt" userId="8063fb94-ab75-422e-8c1a-acc5a068cdc8" providerId="ADAL" clId="{C3138BE1-057E-4C5C-9F83-3E0F110F44B9}" dt="2024-01-12T16:08:26.250" v="189"/>
          <pc:sldLayoutMkLst>
            <pc:docMk/>
            <pc:sldMasterMk cId="0" sldId="2147483660"/>
            <pc:sldLayoutMk cId="1065182677" sldId="2147483680"/>
          </pc:sldLayoutMkLst>
          <pc:spChg chg="add mod">
            <ac:chgData name="Andreas Schmitt" userId="8063fb94-ab75-422e-8c1a-acc5a068cdc8" providerId="ADAL" clId="{C3138BE1-057E-4C5C-9F83-3E0F110F44B9}" dt="2024-01-12T16:08:26.250" v="189"/>
            <ac:spMkLst>
              <pc:docMk/>
              <pc:sldMasterMk cId="0" sldId="2147483660"/>
              <pc:sldLayoutMk cId="1065182677" sldId="2147483680"/>
              <ac:spMk id="4" creationId="{BD87080F-5271-2927-685E-3A63D890F378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8:46.148" v="194"/>
        <pc:sldMasterMkLst>
          <pc:docMk/>
          <pc:sldMasterMk cId="2562903703" sldId="2147483666"/>
        </pc:sldMasterMkLst>
        <pc:spChg chg="mod">
          <ac:chgData name="Andreas Schmitt" userId="8063fb94-ab75-422e-8c1a-acc5a068cdc8" providerId="ADAL" clId="{C3138BE1-057E-4C5C-9F83-3E0F110F44B9}" dt="2024-01-12T16:07:55.803" v="186"/>
          <ac:spMkLst>
            <pc:docMk/>
            <pc:sldMasterMk cId="2562903703" sldId="2147483666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8:34.984" v="190"/>
          <pc:sldLayoutMkLst>
            <pc:docMk/>
            <pc:sldMasterMk cId="2562903703" sldId="2147483666"/>
            <pc:sldLayoutMk cId="2883219733" sldId="2147483667"/>
          </pc:sldLayoutMkLst>
          <pc:spChg chg="mod">
            <ac:chgData name="Andreas Schmitt" userId="8063fb94-ab75-422e-8c1a-acc5a068cdc8" providerId="ADAL" clId="{C3138BE1-057E-4C5C-9F83-3E0F110F44B9}" dt="2024-01-12T16:08:34.984" v="190"/>
            <ac:spMkLst>
              <pc:docMk/>
              <pc:sldMasterMk cId="2562903703" sldId="2147483666"/>
              <pc:sldLayoutMk cId="2883219733" sldId="2147483667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37.748" v="191"/>
          <pc:sldLayoutMkLst>
            <pc:docMk/>
            <pc:sldMasterMk cId="2562903703" sldId="2147483666"/>
            <pc:sldLayoutMk cId="1024173533" sldId="2147483668"/>
          </pc:sldLayoutMkLst>
          <pc:spChg chg="mod">
            <ac:chgData name="Andreas Schmitt" userId="8063fb94-ab75-422e-8c1a-acc5a068cdc8" providerId="ADAL" clId="{C3138BE1-057E-4C5C-9F83-3E0F110F44B9}" dt="2024-01-12T16:08:37.748" v="191"/>
            <ac:spMkLst>
              <pc:docMk/>
              <pc:sldMasterMk cId="2562903703" sldId="2147483666"/>
              <pc:sldLayoutMk cId="1024173533" sldId="2147483668"/>
              <ac:spMk id="3" creationId="{41BD1CB0-5E01-4BF5-8979-25711A2B06E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0.298" v="192"/>
          <pc:sldLayoutMkLst>
            <pc:docMk/>
            <pc:sldMasterMk cId="2562903703" sldId="2147483666"/>
            <pc:sldLayoutMk cId="1516456238" sldId="2147483669"/>
          </pc:sldLayoutMkLst>
          <pc:spChg chg="mod">
            <ac:chgData name="Andreas Schmitt" userId="8063fb94-ab75-422e-8c1a-acc5a068cdc8" providerId="ADAL" clId="{C3138BE1-057E-4C5C-9F83-3E0F110F44B9}" dt="2024-01-12T16:08:40.298" v="192"/>
            <ac:spMkLst>
              <pc:docMk/>
              <pc:sldMasterMk cId="2562903703" sldId="2147483666"/>
              <pc:sldLayoutMk cId="1516456238" sldId="2147483669"/>
              <ac:spMk id="3" creationId="{8EC3D161-904F-4C5A-B0DF-CF567683AD8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3.379" v="193"/>
          <pc:sldLayoutMkLst>
            <pc:docMk/>
            <pc:sldMasterMk cId="2562903703" sldId="2147483666"/>
            <pc:sldLayoutMk cId="3341995072" sldId="2147483671"/>
          </pc:sldLayoutMkLst>
          <pc:spChg chg="mod">
            <ac:chgData name="Andreas Schmitt" userId="8063fb94-ab75-422e-8c1a-acc5a068cdc8" providerId="ADAL" clId="{C3138BE1-057E-4C5C-9F83-3E0F110F44B9}" dt="2024-01-12T16:08:43.379" v="193"/>
            <ac:spMkLst>
              <pc:docMk/>
              <pc:sldMasterMk cId="2562903703" sldId="2147483666"/>
              <pc:sldLayoutMk cId="3341995072" sldId="2147483671"/>
              <ac:spMk id="3" creationId="{E32ECC16-B02A-49ED-A997-97F3696CD294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6.148" v="194"/>
          <pc:sldLayoutMkLst>
            <pc:docMk/>
            <pc:sldMasterMk cId="2562903703" sldId="2147483666"/>
            <pc:sldLayoutMk cId="2035184249" sldId="2147483702"/>
          </pc:sldLayoutMkLst>
          <pc:spChg chg="mod">
            <ac:chgData name="Andreas Schmitt" userId="8063fb94-ab75-422e-8c1a-acc5a068cdc8" providerId="ADAL" clId="{C3138BE1-057E-4C5C-9F83-3E0F110F44B9}" dt="2024-01-12T16:08:46.148" v="194"/>
            <ac:spMkLst>
              <pc:docMk/>
              <pc:sldMasterMk cId="2562903703" sldId="2147483666"/>
              <pc:sldLayoutMk cId="2035184249" sldId="2147483702"/>
              <ac:spMk id="4" creationId="{69E01A09-F514-40C2-92DA-197167A9C54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14.194" v="201"/>
        <pc:sldMasterMkLst>
          <pc:docMk/>
          <pc:sldMasterMk cId="3440935062" sldId="2147483688"/>
        </pc:sldMasterMkLst>
        <pc:spChg chg="mod">
          <ac:chgData name="Andreas Schmitt" userId="8063fb94-ab75-422e-8c1a-acc5a068cdc8" providerId="ADAL" clId="{C3138BE1-057E-4C5C-9F83-3E0F110F44B9}" dt="2024-01-12T16:08:00.085" v="187"/>
          <ac:spMkLst>
            <pc:docMk/>
            <pc:sldMasterMk cId="3440935062" sldId="2147483688"/>
            <ac:spMk id="18" creationId="{ACAEF8EA-B335-4EAA-A13C-03C50E47DF47}"/>
          </ac:spMkLst>
        </pc:spChg>
        <pc:sldLayoutChg chg="modSp mod">
          <pc:chgData name="Andreas Schmitt" userId="8063fb94-ab75-422e-8c1a-acc5a068cdc8" providerId="ADAL" clId="{C3138BE1-057E-4C5C-9F83-3E0F110F44B9}" dt="2024-01-12T16:08:49.928" v="195"/>
          <pc:sldLayoutMkLst>
            <pc:docMk/>
            <pc:sldMasterMk cId="3440935062" sldId="2147483688"/>
            <pc:sldLayoutMk cId="1782977598" sldId="2147483689"/>
          </pc:sldLayoutMkLst>
          <pc:spChg chg="mod">
            <ac:chgData name="Andreas Schmitt" userId="8063fb94-ab75-422e-8c1a-acc5a068cdc8" providerId="ADAL" clId="{C3138BE1-057E-4C5C-9F83-3E0F110F44B9}" dt="2024-01-12T16:08:49.928" v="195"/>
            <ac:spMkLst>
              <pc:docMk/>
              <pc:sldMasterMk cId="3440935062" sldId="2147483688"/>
              <pc:sldLayoutMk cId="1782977598" sldId="2147483689"/>
              <ac:spMk id="3" creationId="{5FD1DECE-4D64-4F20-AED1-115409D2DBA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0.500" v="196"/>
          <pc:sldLayoutMkLst>
            <pc:docMk/>
            <pc:sldMasterMk cId="3440935062" sldId="2147483688"/>
            <pc:sldLayoutMk cId="735134900" sldId="2147483690"/>
          </pc:sldLayoutMkLst>
          <pc:spChg chg="mod">
            <ac:chgData name="Andreas Schmitt" userId="8063fb94-ab75-422e-8c1a-acc5a068cdc8" providerId="ADAL" clId="{C3138BE1-057E-4C5C-9F83-3E0F110F44B9}" dt="2024-01-12T16:09:00.500" v="196"/>
            <ac:spMkLst>
              <pc:docMk/>
              <pc:sldMasterMk cId="3440935062" sldId="2147483688"/>
              <pc:sldLayoutMk cId="735134900" sldId="2147483690"/>
              <ac:spMk id="3" creationId="{234CD4FC-A85E-4387-A85C-692D3A37495F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4.131" v="197"/>
          <pc:sldLayoutMkLst>
            <pc:docMk/>
            <pc:sldMasterMk cId="3440935062" sldId="2147483688"/>
            <pc:sldLayoutMk cId="3710715141" sldId="2147483691"/>
          </pc:sldLayoutMkLst>
          <pc:spChg chg="mod">
            <ac:chgData name="Andreas Schmitt" userId="8063fb94-ab75-422e-8c1a-acc5a068cdc8" providerId="ADAL" clId="{C3138BE1-057E-4C5C-9F83-3E0F110F44B9}" dt="2024-01-12T16:09:04.131" v="197"/>
            <ac:spMkLst>
              <pc:docMk/>
              <pc:sldMasterMk cId="3440935062" sldId="2147483688"/>
              <pc:sldLayoutMk cId="3710715141" sldId="2147483691"/>
              <ac:spMk id="3" creationId="{6837273C-A882-4134-B841-C4EBE62DB41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6.689" v="198"/>
          <pc:sldLayoutMkLst>
            <pc:docMk/>
            <pc:sldMasterMk cId="3440935062" sldId="2147483688"/>
            <pc:sldLayoutMk cId="846703725" sldId="2147483692"/>
          </pc:sldLayoutMkLst>
          <pc:spChg chg="mod">
            <ac:chgData name="Andreas Schmitt" userId="8063fb94-ab75-422e-8c1a-acc5a068cdc8" providerId="ADAL" clId="{C3138BE1-057E-4C5C-9F83-3E0F110F44B9}" dt="2024-01-12T16:09:06.689" v="198"/>
            <ac:spMkLst>
              <pc:docMk/>
              <pc:sldMasterMk cId="3440935062" sldId="2147483688"/>
              <pc:sldLayoutMk cId="846703725" sldId="2147483692"/>
              <ac:spMk id="3" creationId="{C8C6C608-A3BD-41E2-8503-5E1CC58075A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9.178" v="199"/>
          <pc:sldLayoutMkLst>
            <pc:docMk/>
            <pc:sldMasterMk cId="3440935062" sldId="2147483688"/>
            <pc:sldLayoutMk cId="2546398874" sldId="2147483697"/>
          </pc:sldLayoutMkLst>
          <pc:spChg chg="mod">
            <ac:chgData name="Andreas Schmitt" userId="8063fb94-ab75-422e-8c1a-acc5a068cdc8" providerId="ADAL" clId="{C3138BE1-057E-4C5C-9F83-3E0F110F44B9}" dt="2024-01-12T16:09:09.178" v="199"/>
            <ac:spMkLst>
              <pc:docMk/>
              <pc:sldMasterMk cId="3440935062" sldId="2147483688"/>
              <pc:sldLayoutMk cId="2546398874" sldId="2147483697"/>
              <ac:spMk id="2" creationId="{19BF0F57-3810-4ABC-81E9-F284DE33FD1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1.389" v="200"/>
          <pc:sldLayoutMkLst>
            <pc:docMk/>
            <pc:sldMasterMk cId="3440935062" sldId="2147483688"/>
            <pc:sldLayoutMk cId="1759248354" sldId="2147483698"/>
          </pc:sldLayoutMkLst>
          <pc:spChg chg="mod">
            <ac:chgData name="Andreas Schmitt" userId="8063fb94-ab75-422e-8c1a-acc5a068cdc8" providerId="ADAL" clId="{C3138BE1-057E-4C5C-9F83-3E0F110F44B9}" dt="2024-01-12T16:09:11.389" v="200"/>
            <ac:spMkLst>
              <pc:docMk/>
              <pc:sldMasterMk cId="3440935062" sldId="2147483688"/>
              <pc:sldLayoutMk cId="1759248354" sldId="2147483698"/>
              <ac:spMk id="3" creationId="{90B27049-5180-4E56-9D04-7B47507277D8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4.194" v="201"/>
          <pc:sldLayoutMkLst>
            <pc:docMk/>
            <pc:sldMasterMk cId="3440935062" sldId="2147483688"/>
            <pc:sldLayoutMk cId="1131903368" sldId="2147483699"/>
          </pc:sldLayoutMkLst>
          <pc:spChg chg="mod">
            <ac:chgData name="Andreas Schmitt" userId="8063fb94-ab75-422e-8c1a-acc5a068cdc8" providerId="ADAL" clId="{C3138BE1-057E-4C5C-9F83-3E0F110F44B9}" dt="2024-01-12T16:09:14.194" v="201"/>
            <ac:spMkLst>
              <pc:docMk/>
              <pc:sldMasterMk cId="3440935062" sldId="2147483688"/>
              <pc:sldLayoutMk cId="1131903368" sldId="2147483699"/>
              <ac:spMk id="5" creationId="{C946FD76-897E-478D-BBDE-CFA49EE8EAA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25.920" v="203"/>
        <pc:sldMasterMkLst>
          <pc:docMk/>
          <pc:sldMasterMk cId="3143855377" sldId="2147483704"/>
        </pc:sldMasterMkLst>
        <pc:spChg chg="mod">
          <ac:chgData name="Andreas Schmitt" userId="8063fb94-ab75-422e-8c1a-acc5a068cdc8" providerId="ADAL" clId="{C3138BE1-057E-4C5C-9F83-3E0F110F44B9}" dt="2024-01-12T16:08:04.972" v="188"/>
          <ac:spMkLst>
            <pc:docMk/>
            <pc:sldMasterMk cId="3143855377" sldId="2147483704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9:21.854" v="202"/>
          <pc:sldLayoutMkLst>
            <pc:docMk/>
            <pc:sldMasterMk cId="3143855377" sldId="2147483704"/>
            <pc:sldLayoutMk cId="1155169475" sldId="2147483705"/>
          </pc:sldLayoutMkLst>
          <pc:spChg chg="mod">
            <ac:chgData name="Andreas Schmitt" userId="8063fb94-ab75-422e-8c1a-acc5a068cdc8" providerId="ADAL" clId="{C3138BE1-057E-4C5C-9F83-3E0F110F44B9}" dt="2024-01-12T16:09:21.854" v="202"/>
            <ac:spMkLst>
              <pc:docMk/>
              <pc:sldMasterMk cId="3143855377" sldId="2147483704"/>
              <pc:sldLayoutMk cId="1155169475" sldId="2147483705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25.920" v="203"/>
          <pc:sldLayoutMkLst>
            <pc:docMk/>
            <pc:sldMasterMk cId="3143855377" sldId="2147483704"/>
            <pc:sldLayoutMk cId="1182919001" sldId="2147483709"/>
          </pc:sldLayoutMkLst>
          <pc:spChg chg="mod">
            <ac:chgData name="Andreas Schmitt" userId="8063fb94-ab75-422e-8c1a-acc5a068cdc8" providerId="ADAL" clId="{C3138BE1-057E-4C5C-9F83-3E0F110F44B9}" dt="2024-01-12T16:09:25.920" v="203"/>
            <ac:spMkLst>
              <pc:docMk/>
              <pc:sldMasterMk cId="3143855377" sldId="2147483704"/>
              <pc:sldLayoutMk cId="1182919001" sldId="2147483709"/>
              <ac:spMk id="4" creationId="{69E01A09-F514-40C2-92DA-197167A9C54A}"/>
            </ac:spMkLst>
          </pc:spChg>
        </pc:sldLayoutChg>
      </pc:sldMasterChg>
    </pc:docChg>
  </pc:docChgLst>
  <pc:docChgLst>
    <pc:chgData name="Maurice Droll" userId="S::drma1025@h-ka.de::306cf624-762e-4805-b567-51d64146fa42" providerId="AD" clId="Web-{C9A5C673-8B12-0009-E364-E5FD776DB394}"/>
    <pc:docChg chg="addSld delSld modSld modSection">
      <pc:chgData name="Maurice Droll" userId="S::drma1025@h-ka.de::306cf624-762e-4805-b567-51d64146fa42" providerId="AD" clId="Web-{C9A5C673-8B12-0009-E364-E5FD776DB394}" dt="2024-01-13T22:38:18.757" v="30" actId="20577"/>
      <pc:docMkLst>
        <pc:docMk/>
      </pc:docMkLst>
      <pc:sldChg chg="delSp modSp new">
        <pc:chgData name="Maurice Droll" userId="S::drma1025@h-ka.de::306cf624-762e-4805-b567-51d64146fa42" providerId="AD" clId="Web-{C9A5C673-8B12-0009-E364-E5FD776DB394}" dt="2024-01-13T22:38:18.757" v="30" actId="20577"/>
        <pc:sldMkLst>
          <pc:docMk/>
          <pc:sldMk cId="3443239777" sldId="1095"/>
        </pc:sldMkLst>
        <pc:spChg chg="del">
          <ac:chgData name="Maurice Droll" userId="S::drma1025@h-ka.de::306cf624-762e-4805-b567-51d64146fa42" providerId="AD" clId="Web-{C9A5C673-8B12-0009-E364-E5FD776DB394}" dt="2024-01-13T22:37:38.787" v="5"/>
          <ac:spMkLst>
            <pc:docMk/>
            <pc:sldMk cId="3443239777" sldId="1095"/>
            <ac:spMk id="2" creationId="{B22BB73C-61E4-279C-D4D1-C9013EF416AA}"/>
          </ac:spMkLst>
        </pc:spChg>
        <pc:spChg chg="mod">
          <ac:chgData name="Maurice Droll" userId="S::drma1025@h-ka.de::306cf624-762e-4805-b567-51d64146fa42" providerId="AD" clId="Web-{C9A5C673-8B12-0009-E364-E5FD776DB394}" dt="2024-01-13T22:38:18.757" v="30" actId="20577"/>
          <ac:spMkLst>
            <pc:docMk/>
            <pc:sldMk cId="3443239777" sldId="1095"/>
            <ac:spMk id="3" creationId="{153EF5A8-56F7-F33B-23D7-6B6D62104FBA}"/>
          </ac:spMkLst>
        </pc:spChg>
        <pc:spChg chg="del">
          <ac:chgData name="Maurice Droll" userId="S::drma1025@h-ka.de::306cf624-762e-4805-b567-51d64146fa42" providerId="AD" clId="Web-{C9A5C673-8B12-0009-E364-E5FD776DB394}" dt="2024-01-13T22:37:37.444" v="4"/>
          <ac:spMkLst>
            <pc:docMk/>
            <pc:sldMk cId="3443239777" sldId="1095"/>
            <ac:spMk id="4" creationId="{771E02F3-B6CB-5617-0890-D8B9A9B52E9B}"/>
          </ac:spMkLst>
        </pc:spChg>
      </pc:sldChg>
      <pc:sldChg chg="new del">
        <pc:chgData name="Maurice Droll" userId="S::drma1025@h-ka.de::306cf624-762e-4805-b567-51d64146fa42" providerId="AD" clId="Web-{C9A5C673-8B12-0009-E364-E5FD776DB394}" dt="2024-01-13T22:37:17.865" v="2"/>
        <pc:sldMkLst>
          <pc:docMk/>
          <pc:sldMk cId="2739704835" sldId="1096"/>
        </pc:sldMkLst>
      </pc:sldChg>
      <pc:sldChg chg="new">
        <pc:chgData name="Maurice Droll" userId="S::drma1025@h-ka.de::306cf624-762e-4805-b567-51d64146fa42" providerId="AD" clId="Web-{C9A5C673-8B12-0009-E364-E5FD776DB394}" dt="2024-01-13T22:37:29.756" v="3"/>
        <pc:sldMkLst>
          <pc:docMk/>
          <pc:sldMk cId="3040228872" sldId="1096"/>
        </pc:sldMkLst>
      </pc:sldChg>
    </pc:docChg>
  </pc:docChgLst>
  <pc:docChgLst>
    <pc:chgData name="Andreas Schmitt" userId="5207b21e-2ba2-46ed-97b4-17ee4e0d2c68" providerId="ADAL" clId="{4FCCE2DE-2235-47A0-926D-53E4AF8737CF}"/>
    <pc:docChg chg="modSld">
      <pc:chgData name="Andreas Schmitt" userId="5207b21e-2ba2-46ed-97b4-17ee4e0d2c68" providerId="ADAL" clId="{4FCCE2DE-2235-47A0-926D-53E4AF8737CF}" dt="2024-01-25T11:57:24.493" v="13" actId="5736"/>
      <pc:docMkLst>
        <pc:docMk/>
      </pc:docMkLst>
      <pc:sldChg chg="modSp">
        <pc:chgData name="Andreas Schmitt" userId="5207b21e-2ba2-46ed-97b4-17ee4e0d2c68" providerId="ADAL" clId="{4FCCE2DE-2235-47A0-926D-53E4AF8737CF}" dt="2024-01-25T11:46:37.242" v="3" actId="5736"/>
        <pc:sldMkLst>
          <pc:docMk/>
          <pc:sldMk cId="3111353975" sldId="1094"/>
        </pc:sldMkLst>
        <pc:graphicFrameChg chg="mod">
          <ac:chgData name="Andreas Schmitt" userId="5207b21e-2ba2-46ed-97b4-17ee4e0d2c68" providerId="ADAL" clId="{4FCCE2DE-2235-47A0-926D-53E4AF8737CF}" dt="2024-01-25T11:46:37.242" v="3" actId="5736"/>
          <ac:graphicFrameMkLst>
            <pc:docMk/>
            <pc:sldMk cId="3111353975" sldId="1094"/>
            <ac:graphicFrameMk id="8" creationId="{CA22F5D4-F383-A44D-1771-2225E2C676A1}"/>
          </ac:graphicFrameMkLst>
        </pc:graphicFrameChg>
      </pc:sldChg>
      <pc:sldChg chg="modSp">
        <pc:chgData name="Andreas Schmitt" userId="5207b21e-2ba2-46ed-97b4-17ee4e0d2c68" providerId="ADAL" clId="{4FCCE2DE-2235-47A0-926D-53E4AF8737CF}" dt="2024-01-25T11:47:31.909" v="5" actId="5736"/>
        <pc:sldMkLst>
          <pc:docMk/>
          <pc:sldMk cId="2819956607" sldId="1097"/>
        </pc:sldMkLst>
        <pc:graphicFrameChg chg="mod">
          <ac:chgData name="Andreas Schmitt" userId="5207b21e-2ba2-46ed-97b4-17ee4e0d2c68" providerId="ADAL" clId="{4FCCE2DE-2235-47A0-926D-53E4AF8737CF}" dt="2024-01-25T11:47:31.909" v="5" actId="5736"/>
          <ac:graphicFrameMkLst>
            <pc:docMk/>
            <pc:sldMk cId="2819956607" sldId="1097"/>
            <ac:graphicFrameMk id="6" creationId="{AF695791-3B01-DCE6-C787-4BE655F03BEB}"/>
          </ac:graphicFrameMkLst>
        </pc:graphicFrameChg>
      </pc:sldChg>
      <pc:sldChg chg="modSp">
        <pc:chgData name="Andreas Schmitt" userId="5207b21e-2ba2-46ed-97b4-17ee4e0d2c68" providerId="ADAL" clId="{4FCCE2DE-2235-47A0-926D-53E4AF8737CF}" dt="2024-01-25T11:48:27.720" v="8" actId="5736"/>
        <pc:sldMkLst>
          <pc:docMk/>
          <pc:sldMk cId="2988925347" sldId="1098"/>
        </pc:sldMkLst>
        <pc:graphicFrameChg chg="mod">
          <ac:chgData name="Andreas Schmitt" userId="5207b21e-2ba2-46ed-97b4-17ee4e0d2c68" providerId="ADAL" clId="{4FCCE2DE-2235-47A0-926D-53E4AF8737CF}" dt="2024-01-25T11:48:27.720" v="8" actId="5736"/>
          <ac:graphicFrameMkLst>
            <pc:docMk/>
            <pc:sldMk cId="2988925347" sldId="1098"/>
            <ac:graphicFrameMk id="7" creationId="{EE744F85-9F12-01F6-E25A-9FBC56D818FC}"/>
          </ac:graphicFrameMkLst>
        </pc:graphicFrameChg>
      </pc:sldChg>
      <pc:sldChg chg="modSp">
        <pc:chgData name="Andreas Schmitt" userId="5207b21e-2ba2-46ed-97b4-17ee4e0d2c68" providerId="ADAL" clId="{4FCCE2DE-2235-47A0-926D-53E4AF8737CF}" dt="2024-01-25T11:57:24.493" v="13" actId="5736"/>
        <pc:sldMkLst>
          <pc:docMk/>
          <pc:sldMk cId="3587079978" sldId="1104"/>
        </pc:sldMkLst>
        <pc:graphicFrameChg chg="mod">
          <ac:chgData name="Andreas Schmitt" userId="5207b21e-2ba2-46ed-97b4-17ee4e0d2c68" providerId="ADAL" clId="{4FCCE2DE-2235-47A0-926D-53E4AF8737CF}" dt="2024-01-25T11:57:24.493" v="13" actId="5736"/>
          <ac:graphicFrameMkLst>
            <pc:docMk/>
            <pc:sldMk cId="3587079978" sldId="1104"/>
            <ac:graphicFrameMk id="3" creationId="{596ECFA4-3E20-975E-9F8A-010B6EACD89A}"/>
          </ac:graphicFrameMkLst>
        </pc:graphicFrameChg>
      </pc:sldChg>
    </pc:docChg>
  </pc:docChgLst>
  <pc:docChgLst>
    <pc:chgData name="Andreas Schmitt" userId="S::scan1116@h-ka.de::8063fb94-ab75-422e-8c1a-acc5a068cdc8" providerId="AD" clId="Web-{B8789867-C7CE-4BCA-BA69-DBD14DD1D7B9}"/>
    <pc:docChg chg="modSld">
      <pc:chgData name="Andreas Schmitt" userId="S::scan1116@h-ka.de::8063fb94-ab75-422e-8c1a-acc5a068cdc8" providerId="AD" clId="Web-{B8789867-C7CE-4BCA-BA69-DBD14DD1D7B9}" dt="2024-01-15T08:52:25.539" v="13" actId="20577"/>
      <pc:docMkLst>
        <pc:docMk/>
      </pc:docMkLst>
      <pc:sldChg chg="addSp modSp">
        <pc:chgData name="Andreas Schmitt" userId="S::scan1116@h-ka.de::8063fb94-ab75-422e-8c1a-acc5a068cdc8" providerId="AD" clId="Web-{B8789867-C7CE-4BCA-BA69-DBD14DD1D7B9}" dt="2024-01-15T08:52:25.539" v="13" actId="20577"/>
        <pc:sldMkLst>
          <pc:docMk/>
          <pc:sldMk cId="4061517964" sldId="1090"/>
        </pc:sldMkLst>
        <pc:spChg chg="add mod">
          <ac:chgData name="Andreas Schmitt" userId="S::scan1116@h-ka.de::8063fb94-ab75-422e-8c1a-acc5a068cdc8" providerId="AD" clId="Web-{B8789867-C7CE-4BCA-BA69-DBD14DD1D7B9}" dt="2024-01-15T08:52:25.539" v="13" actId="20577"/>
          <ac:spMkLst>
            <pc:docMk/>
            <pc:sldMk cId="4061517964" sldId="1090"/>
            <ac:spMk id="2" creationId="{B55D3284-D9F5-C6B2-7A22-5CC20791E0B1}"/>
          </ac:spMkLst>
        </pc:spChg>
      </pc:sldChg>
    </pc:docChg>
  </pc:docChgLst>
  <pc:docChgLst>
    <pc:chgData name="Maurice Droll" userId="S::drma1025@h-ka.de::306cf624-762e-4805-b567-51d64146fa42" providerId="AD" clId="Web-{DBF10ACB-9565-7ABE-454E-F67899B70E11}"/>
    <pc:docChg chg="addSld delSld modSld modSection">
      <pc:chgData name="Maurice Droll" userId="S::drma1025@h-ka.de::306cf624-762e-4805-b567-51d64146fa42" providerId="AD" clId="Web-{DBF10ACB-9565-7ABE-454E-F67899B70E11}" dt="2024-01-14T22:40:13.625" v="7" actId="20577"/>
      <pc:docMkLst>
        <pc:docMk/>
      </pc:docMkLst>
      <pc:sldChg chg="modSp">
        <pc:chgData name="Maurice Droll" userId="S::drma1025@h-ka.de::306cf624-762e-4805-b567-51d64146fa42" providerId="AD" clId="Web-{DBF10ACB-9565-7ABE-454E-F67899B70E11}" dt="2024-01-14T22:40:13.625" v="7" actId="20577"/>
        <pc:sldMkLst>
          <pc:docMk/>
          <pc:sldMk cId="3609810263" sldId="1091"/>
        </pc:sldMkLst>
        <pc:spChg chg="mod">
          <ac:chgData name="Maurice Droll" userId="S::drma1025@h-ka.de::306cf624-762e-4805-b567-51d64146fa42" providerId="AD" clId="Web-{DBF10ACB-9565-7ABE-454E-F67899B70E11}" dt="2024-01-14T22:40:13.625" v="7" actId="20577"/>
          <ac:spMkLst>
            <pc:docMk/>
            <pc:sldMk cId="3609810263" sldId="1091"/>
            <ac:spMk id="8" creationId="{E3A6B3C8-6F75-EB43-A1A7-16036EE670BB}"/>
          </ac:spMkLst>
        </pc:spChg>
      </pc:sldChg>
      <pc:sldChg chg="addSp delSp modSp new del">
        <pc:chgData name="Maurice Droll" userId="S::drma1025@h-ka.de::306cf624-762e-4805-b567-51d64146fa42" providerId="AD" clId="Web-{DBF10ACB-9565-7ABE-454E-F67899B70E11}" dt="2024-01-14T22:25:36.314" v="5"/>
        <pc:sldMkLst>
          <pc:docMk/>
          <pc:sldMk cId="631776112" sldId="1100"/>
        </pc:sldMkLst>
        <pc:spChg chg="del">
          <ac:chgData name="Maurice Droll" userId="S::drma1025@h-ka.de::306cf624-762e-4805-b567-51d64146fa42" providerId="AD" clId="Web-{DBF10ACB-9565-7ABE-454E-F67899B70E11}" dt="2024-01-14T22:25:30.126" v="1"/>
          <ac:spMkLst>
            <pc:docMk/>
            <pc:sldMk cId="631776112" sldId="1100"/>
            <ac:spMk id="2" creationId="{6A0D1384-0795-9B69-E254-EEFC7E6074E4}"/>
          </ac:spMkLst>
        </pc:spChg>
        <pc:graphicFrameChg chg="add del mod">
          <ac:chgData name="Maurice Droll" userId="S::drma1025@h-ka.de::306cf624-762e-4805-b567-51d64146fa42" providerId="AD" clId="Web-{DBF10ACB-9565-7ABE-454E-F67899B70E11}" dt="2024-01-14T22:25:34.251" v="4"/>
          <ac:graphicFrameMkLst>
            <pc:docMk/>
            <pc:sldMk cId="631776112" sldId="1100"/>
            <ac:graphicFrameMk id="6" creationId="{CC94FD49-BA51-8AE4-C10F-A4518A15A308}"/>
          </ac:graphicFrameMkLst>
        </pc:graphicFrameChg>
      </pc:sldChg>
    </pc:docChg>
  </pc:docChgLst>
  <pc:docChgLst>
    <pc:chgData name="Andreas Schmitt" userId="5207b21e-2ba2-46ed-97b4-17ee4e0d2c68" providerId="ADAL" clId="{E7549C9A-A6B2-4350-BE28-89D5425227D0}"/>
    <pc:docChg chg="custSel delSld modSld modSection">
      <pc:chgData name="Andreas Schmitt" userId="5207b21e-2ba2-46ed-97b4-17ee4e0d2c68" providerId="ADAL" clId="{E7549C9A-A6B2-4350-BE28-89D5425227D0}" dt="2024-01-12T15:59:46.612" v="12" actId="20577"/>
      <pc:docMkLst>
        <pc:docMk/>
      </pc:docMkLst>
      <pc:sldChg chg="modSp mod">
        <pc:chgData name="Andreas Schmitt" userId="5207b21e-2ba2-46ed-97b4-17ee4e0d2c68" providerId="ADAL" clId="{E7549C9A-A6B2-4350-BE28-89D5425227D0}" dt="2024-01-12T15:59:46.612" v="12" actId="20577"/>
        <pc:sldMkLst>
          <pc:docMk/>
          <pc:sldMk cId="1923399112" sldId="1087"/>
        </pc:sldMkLst>
        <pc:spChg chg="mod">
          <ac:chgData name="Andreas Schmitt" userId="5207b21e-2ba2-46ed-97b4-17ee4e0d2c68" providerId="ADAL" clId="{E7549C9A-A6B2-4350-BE28-89D5425227D0}" dt="2024-01-12T15:59:44.179" v="7" actId="20577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5207b21e-2ba2-46ed-97b4-17ee4e0d2c68" providerId="ADAL" clId="{E7549C9A-A6B2-4350-BE28-89D5425227D0}" dt="2024-01-12T15:59:46.612" v="12" actId="20577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mod chgLayout">
        <pc:chgData name="Andreas Schmitt" userId="5207b21e-2ba2-46ed-97b4-17ee4e0d2c68" providerId="ADAL" clId="{E7549C9A-A6B2-4350-BE28-89D5425227D0}" dt="2024-01-12T15:59:33.726" v="6" actId="20577"/>
        <pc:sldMkLst>
          <pc:docMk/>
          <pc:sldMk cId="4124322762" sldId="1546"/>
        </pc:sldMkLst>
        <pc:spChg chg="add del mo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3" creationId="{0A41F8AE-8445-4F21-0F4D-077A774DB028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4" creationId="{6006BF76-DBFF-4B68-8CB7-9F1550761310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5" creationId="{1EA9214A-E96D-470A-8EDE-61CEBA45EA6E}"/>
          </ac:spMkLst>
        </pc:spChg>
        <pc:spChg chg="add 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7" creationId="{26523E40-D335-FE8D-B399-2688CE983F83}"/>
          </ac:spMkLst>
        </pc:spChg>
        <pc:spChg chg="mod ord">
          <ac:chgData name="Andreas Schmitt" userId="5207b21e-2ba2-46ed-97b4-17ee4e0d2c68" providerId="ADAL" clId="{E7549C9A-A6B2-4350-BE28-89D5425227D0}" dt="2024-01-12T15:59:33.726" v="6" actId="20577"/>
          <ac:spMkLst>
            <pc:docMk/>
            <pc:sldMk cId="4124322762" sldId="1546"/>
            <ac:spMk id="8" creationId="{C5348221-1137-4E3C-A316-B70160A89D22}"/>
          </ac:spMkLst>
        </pc:spChg>
        <pc:spChg chg="del">
          <ac:chgData name="Andreas Schmitt" userId="5207b21e-2ba2-46ed-97b4-17ee4e0d2c68" providerId="ADAL" clId="{E7549C9A-A6B2-4350-BE28-89D5425227D0}" dt="2024-01-12T15:59:11.444" v="1" actId="478"/>
          <ac:spMkLst>
            <pc:docMk/>
            <pc:sldMk cId="4124322762" sldId="1546"/>
            <ac:spMk id="9" creationId="{86E825F2-94E1-4BEB-9BC5-097415CC2841}"/>
          </ac:spMkLst>
        </pc:spChg>
        <pc:picChg chg="del">
          <ac:chgData name="Andreas Schmitt" userId="5207b21e-2ba2-46ed-97b4-17ee4e0d2c68" providerId="ADAL" clId="{E7549C9A-A6B2-4350-BE28-89D5425227D0}" dt="2024-01-12T15:59:27.052" v="4" actId="478"/>
          <ac:picMkLst>
            <pc:docMk/>
            <pc:sldMk cId="4124322762" sldId="1546"/>
            <ac:picMk id="6" creationId="{4BCE7187-B031-4A3D-A4AF-123A45C2961B}"/>
          </ac:picMkLst>
        </pc:picChg>
        <pc:picChg chg="del">
          <ac:chgData name="Andreas Schmitt" userId="5207b21e-2ba2-46ed-97b4-17ee4e0d2c68" providerId="ADAL" clId="{E7549C9A-A6B2-4350-BE28-89D5425227D0}" dt="2024-01-12T15:59:16.191" v="3" actId="478"/>
          <ac:picMkLst>
            <pc:docMk/>
            <pc:sldMk cId="4124322762" sldId="1546"/>
            <ac:picMk id="159746" creationId="{BF3EE483-55B4-4A4C-B4CA-B1CAB1AED712}"/>
          </ac:picMkLst>
        </pc:picChg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25201091" sldId="154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21429362" sldId="154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98049718" sldId="154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338000219" sldId="155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43712411" sldId="155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660463436" sldId="155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84429505" sldId="155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16138586" sldId="155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896236324" sldId="155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306710642" sldId="155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458310555" sldId="155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85767656" sldId="155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9046137" sldId="155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66958862" sldId="156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818496155" sldId="156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21153693" sldId="156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82409152" sldId="156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421332026" sldId="156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546059997" sldId="156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9086398" sldId="156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108707021" sldId="156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95386140" sldId="156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139347351" sldId="156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7235744" sldId="157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816368900" sldId="157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28417578" sldId="157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06543526" sldId="157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12343751" sldId="157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50884767" sldId="157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733463454" sldId="157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033279443" sldId="158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76485239" sldId="158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42811623" sldId="1582"/>
        </pc:sldMkLst>
      </pc:sldChg>
    </pc:docChg>
  </pc:docChgLst>
  <pc:docChgLst>
    <pc:chgData name="Maurice Droll" userId="S::drma1025@h-ka.de::306cf624-762e-4805-b567-51d64146fa42" providerId="AD" clId="Web-{B29573DE-7E2E-62C6-3CE2-D2CFDB9B4E54}"/>
    <pc:docChg chg="modSld sldOrd">
      <pc:chgData name="Maurice Droll" userId="S::drma1025@h-ka.de::306cf624-762e-4805-b567-51d64146fa42" providerId="AD" clId="Web-{B29573DE-7E2E-62C6-3CE2-D2CFDB9B4E54}" dt="2024-01-14T18:17:19.305" v="134" actId="20577"/>
      <pc:docMkLst>
        <pc:docMk/>
      </pc:docMkLst>
      <pc:sldChg chg="modSp">
        <pc:chgData name="Maurice Droll" userId="S::drma1025@h-ka.de::306cf624-762e-4805-b567-51d64146fa42" providerId="AD" clId="Web-{B29573DE-7E2E-62C6-3CE2-D2CFDB9B4E54}" dt="2024-01-14T18:12:21.296" v="5" actId="20577"/>
        <pc:sldMkLst>
          <pc:docMk/>
          <pc:sldMk cId="454951695" sldId="1092"/>
        </pc:sldMkLst>
        <pc:spChg chg="mod">
          <ac:chgData name="Maurice Droll" userId="S::drma1025@h-ka.de::306cf624-762e-4805-b567-51d64146fa42" providerId="AD" clId="Web-{B29573DE-7E2E-62C6-3CE2-D2CFDB9B4E54}" dt="2024-01-14T18:12:21.296" v="5" actId="20577"/>
          <ac:spMkLst>
            <pc:docMk/>
            <pc:sldMk cId="454951695" sldId="1092"/>
            <ac:spMk id="8" creationId="{E3A6B3C8-6F75-EB43-A1A7-16036EE670BB}"/>
          </ac:spMkLst>
        </pc:spChg>
      </pc:sldChg>
      <pc:sldChg chg="ord">
        <pc:chgData name="Maurice Droll" userId="S::drma1025@h-ka.de::306cf624-762e-4805-b567-51d64146fa42" providerId="AD" clId="Web-{B29573DE-7E2E-62C6-3CE2-D2CFDB9B4E54}" dt="2024-01-14T18:13:03.047" v="6"/>
        <pc:sldMkLst>
          <pc:docMk/>
          <pc:sldMk cId="652909132" sldId="1093"/>
        </pc:sldMkLst>
      </pc:sldChg>
      <pc:sldChg chg="addSp modSp">
        <pc:chgData name="Maurice Droll" userId="S::drma1025@h-ka.de::306cf624-762e-4805-b567-51d64146fa42" providerId="AD" clId="Web-{B29573DE-7E2E-62C6-3CE2-D2CFDB9B4E54}" dt="2024-01-14T18:17:19.305" v="134" actId="20577"/>
        <pc:sldMkLst>
          <pc:docMk/>
          <pc:sldMk cId="3111353975" sldId="1094"/>
        </pc:sldMkLst>
        <pc:spChg chg="mod">
          <ac:chgData name="Maurice Droll" userId="S::drma1025@h-ka.de::306cf624-762e-4805-b567-51d64146fa42" providerId="AD" clId="Web-{B29573DE-7E2E-62C6-3CE2-D2CFDB9B4E54}" dt="2024-01-14T18:16:38.054" v="109" actId="14100"/>
          <ac:spMkLst>
            <pc:docMk/>
            <pc:sldMk cId="3111353975" sldId="1094"/>
            <ac:spMk id="3" creationId="{33A6CABB-4BAF-1162-3D3D-B40EABF24B4B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3.430" v="127" actId="20577"/>
          <ac:spMkLst>
            <pc:docMk/>
            <pc:sldMk cId="3111353975" sldId="1094"/>
            <ac:spMk id="6" creationId="{965EB4DE-5658-931B-47A4-5983D1E379F4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0.179" v="114" actId="1076"/>
          <ac:spMkLst>
            <pc:docMk/>
            <pc:sldMk cId="3111353975" sldId="1094"/>
            <ac:spMk id="7" creationId="{6358756C-57FC-13A1-6FE0-19DF27B814E1}"/>
          </ac:spMkLst>
        </pc:spChg>
        <pc:spChg chg="add mod">
          <ac:chgData name="Maurice Droll" userId="S::drma1025@h-ka.de::306cf624-762e-4805-b567-51d64146fa42" providerId="AD" clId="Web-{B29573DE-7E2E-62C6-3CE2-D2CFDB9B4E54}" dt="2024-01-14T18:16:48.179" v="113" actId="1076"/>
          <ac:spMkLst>
            <pc:docMk/>
            <pc:sldMk cId="3111353975" sldId="1094"/>
            <ac:spMk id="8" creationId="{EA4E5397-F94D-2289-0FFD-4AF6298C057A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7.382" v="116" actId="1076"/>
          <ac:spMkLst>
            <pc:docMk/>
            <pc:sldMk cId="3111353975" sldId="1094"/>
            <ac:spMk id="9" creationId="{DBA3133A-00E5-D666-7584-0C71148810C1}"/>
          </ac:spMkLst>
        </pc:spChg>
        <pc:spChg chg="add mod">
          <ac:chgData name="Maurice Droll" userId="S::drma1025@h-ka.de::306cf624-762e-4805-b567-51d64146fa42" providerId="AD" clId="Web-{B29573DE-7E2E-62C6-3CE2-D2CFDB9B4E54}" dt="2024-01-14T18:17:00.992" v="118" actId="1076"/>
          <ac:spMkLst>
            <pc:docMk/>
            <pc:sldMk cId="3111353975" sldId="1094"/>
            <ac:spMk id="10" creationId="{3B42BBB8-9768-3648-6471-8E1AC28E3FA5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9.305" v="134" actId="20577"/>
          <ac:spMkLst>
            <pc:docMk/>
            <pc:sldMk cId="3111353975" sldId="1094"/>
            <ac:spMk id="11" creationId="{5D302232-D948-1DA0-56BB-035020D32B25}"/>
          </ac:spMkLst>
        </pc:spChg>
      </pc:sldChg>
    </pc:docChg>
  </pc:docChgLst>
  <pc:docChgLst>
    <pc:chgData name="Andreas Schmitt" userId="S::scan1116@h-ka.de::8063fb94-ab75-422e-8c1a-acc5a068cdc8" providerId="AD" clId="Web-{4A28E82F-4AAE-4A41-A134-38C7C824C94B}"/>
    <pc:docChg chg="addSld modSld modSection">
      <pc:chgData name="Andreas Schmitt" userId="S::scan1116@h-ka.de::8063fb94-ab75-422e-8c1a-acc5a068cdc8" providerId="AD" clId="Web-{4A28E82F-4AAE-4A41-A134-38C7C824C94B}" dt="2024-01-15T08:50:05.983" v="22" actId="20577"/>
      <pc:docMkLst>
        <pc:docMk/>
      </pc:docMkLst>
      <pc:sldChg chg="delSp modSp add replId">
        <pc:chgData name="Andreas Schmitt" userId="S::scan1116@h-ka.de::8063fb94-ab75-422e-8c1a-acc5a068cdc8" providerId="AD" clId="Web-{4A28E82F-4AAE-4A41-A134-38C7C824C94B}" dt="2024-01-15T08:50:05.983" v="22" actId="20577"/>
        <pc:sldMkLst>
          <pc:docMk/>
          <pc:sldMk cId="2319869533" sldId="1099"/>
        </pc:sldMkLst>
        <pc:spChg chg="mod">
          <ac:chgData name="Andreas Schmitt" userId="S::scan1116@h-ka.de::8063fb94-ab75-422e-8c1a-acc5a068cdc8" providerId="AD" clId="Web-{4A28E82F-4AAE-4A41-A134-38C7C824C94B}" dt="2024-01-15T08:50:05.983" v="22" actId="20577"/>
          <ac:spMkLst>
            <pc:docMk/>
            <pc:sldMk cId="2319869533" sldId="1099"/>
            <ac:spMk id="7" creationId="{A945391F-F142-2DF7-18E6-0D739F709B5C}"/>
          </ac:spMkLst>
        </pc:spChg>
        <pc:spChg chg="mod">
          <ac:chgData name="Andreas Schmitt" userId="S::scan1116@h-ka.de::8063fb94-ab75-422e-8c1a-acc5a068cdc8" providerId="AD" clId="Web-{4A28E82F-4AAE-4A41-A134-38C7C824C94B}" dt="2024-01-15T08:49:46.810" v="20" actId="20577"/>
          <ac:spMkLst>
            <pc:docMk/>
            <pc:sldMk cId="2319869533" sldId="1099"/>
            <ac:spMk id="8" creationId="{E988E23E-778A-3EA9-AE8D-70D955921104}"/>
          </ac:spMkLst>
        </pc:spChg>
        <pc:picChg chg="del">
          <ac:chgData name="Andreas Schmitt" userId="S::scan1116@h-ka.de::8063fb94-ab75-422e-8c1a-acc5a068cdc8" providerId="AD" clId="Web-{4A28E82F-4AAE-4A41-A134-38C7C824C94B}" dt="2024-01-15T08:49:37.060" v="1"/>
          <ac:picMkLst>
            <pc:docMk/>
            <pc:sldMk cId="2319869533" sldId="1099"/>
            <ac:picMk id="10" creationId="{24C112A4-ACC8-F41F-AF78-BC7AE385EDB0}"/>
          </ac:picMkLst>
        </pc:picChg>
      </pc:sldChg>
    </pc:docChg>
  </pc:docChgLst>
  <pc:docChgLst>
    <pc:chgData name="Maurice Droll" userId="S::drma1025@h-ka.de::306cf624-762e-4805-b567-51d64146fa42" providerId="AD" clId="Web-{8F9D384A-08E8-00C7-CB5A-A43CF671CF05}"/>
    <pc:docChg chg="addSld modSld">
      <pc:chgData name="Maurice Droll" userId="S::drma1025@h-ka.de::306cf624-762e-4805-b567-51d64146fa42" providerId="AD" clId="Web-{8F9D384A-08E8-00C7-CB5A-A43CF671CF05}" dt="2024-01-16T10:35:35.537" v="154" actId="14100"/>
      <pc:docMkLst>
        <pc:docMk/>
      </pc:docMkLst>
      <pc:sldChg chg="modSp">
        <pc:chgData name="Maurice Droll" userId="S::drma1025@h-ka.de::306cf624-762e-4805-b567-51d64146fa42" providerId="AD" clId="Web-{8F9D384A-08E8-00C7-CB5A-A43CF671CF05}" dt="2024-01-16T10:35:35.537" v="154" actId="14100"/>
        <pc:sldMkLst>
          <pc:docMk/>
          <pc:sldMk cId="1923399112" sldId="1087"/>
        </pc:sldMkLst>
        <pc:spChg chg="mod">
          <ac:chgData name="Maurice Droll" userId="S::drma1025@h-ka.de::306cf624-762e-4805-b567-51d64146fa42" providerId="AD" clId="Web-{8F9D384A-08E8-00C7-CB5A-A43CF671CF05}" dt="2024-01-16T10:35:35.537" v="154" actId="14100"/>
          <ac:spMkLst>
            <pc:docMk/>
            <pc:sldMk cId="1923399112" sldId="1087"/>
            <ac:spMk id="8" creationId="{7AA139CD-735D-4AB8-9FCE-080BDC820787}"/>
          </ac:spMkLst>
        </pc:spChg>
      </pc:sldChg>
      <pc:sldChg chg="addSp modSp">
        <pc:chgData name="Maurice Droll" userId="S::drma1025@h-ka.de::306cf624-762e-4805-b567-51d64146fa42" providerId="AD" clId="Web-{8F9D384A-08E8-00C7-CB5A-A43CF671CF05}" dt="2024-01-15T16:12:32.727" v="2"/>
        <pc:sldMkLst>
          <pc:docMk/>
          <pc:sldMk cId="4061517964" sldId="1090"/>
        </pc:sldMkLst>
        <pc:spChg chg="add mod">
          <ac:chgData name="Maurice Droll" userId="S::drma1025@h-ka.de::306cf624-762e-4805-b567-51d64146fa42" providerId="AD" clId="Web-{8F9D384A-08E8-00C7-CB5A-A43CF671CF05}" dt="2024-01-15T16:12:32.727" v="2"/>
          <ac:spMkLst>
            <pc:docMk/>
            <pc:sldMk cId="4061517964" sldId="1090"/>
            <ac:spMk id="2" creationId="{56EFD822-F0D6-BBBE-6251-8C0E87573559}"/>
          </ac:spMkLst>
        </pc:spChg>
      </pc:sldChg>
      <pc:sldChg chg="modSp">
        <pc:chgData name="Maurice Droll" userId="S::drma1025@h-ka.de::306cf624-762e-4805-b567-51d64146fa42" providerId="AD" clId="Web-{8F9D384A-08E8-00C7-CB5A-A43CF671CF05}" dt="2024-01-15T17:54:56.683" v="64" actId="20577"/>
        <pc:sldMkLst>
          <pc:docMk/>
          <pc:sldMk cId="4000893962" sldId="1101"/>
        </pc:sldMkLst>
        <pc:spChg chg="mod">
          <ac:chgData name="Maurice Droll" userId="S::drma1025@h-ka.de::306cf624-762e-4805-b567-51d64146fa42" providerId="AD" clId="Web-{8F9D384A-08E8-00C7-CB5A-A43CF671CF05}" dt="2024-01-15T17:54:56.683" v="64" actId="20577"/>
          <ac:spMkLst>
            <pc:docMk/>
            <pc:sldMk cId="4000893962" sldId="1101"/>
            <ac:spMk id="3" creationId="{72B47EB2-3EE4-8A53-1DF6-D47A55ECE0E9}"/>
          </ac:spMkLst>
        </pc:spChg>
      </pc:sldChg>
      <pc:sldChg chg="addSp delSp modSp new mod modClrScheme chgLayout">
        <pc:chgData name="Maurice Droll" userId="S::drma1025@h-ka.de::306cf624-762e-4805-b567-51d64146fa42" providerId="AD" clId="Web-{8F9D384A-08E8-00C7-CB5A-A43CF671CF05}" dt="2024-01-15T18:20:47.799" v="145"/>
        <pc:sldMkLst>
          <pc:docMk/>
          <pc:sldMk cId="105000510" sldId="1102"/>
        </pc:sldMkLst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2" creationId="{7B541703-1F97-DF24-4C01-C47367B6B1D8}"/>
          </ac:spMkLst>
        </pc:spChg>
        <pc:spChg chg="del mod ord">
          <ac:chgData name="Maurice Droll" userId="S::drma1025@h-ka.de::306cf624-762e-4805-b567-51d64146fa42" providerId="AD" clId="Web-{8F9D384A-08E8-00C7-CB5A-A43CF671CF05}" dt="2024-01-15T17:57:22.141" v="78"/>
          <ac:spMkLst>
            <pc:docMk/>
            <pc:sldMk cId="105000510" sldId="1102"/>
            <ac:spMk id="3" creationId="{0A7B7BE6-57D4-939A-38D1-F8230A592D45}"/>
          </ac:spMkLst>
        </pc:spChg>
        <pc:spChg chg="del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4" creationId="{7C2E4785-7177-2539-F420-7FCD49802B3A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5" creationId="{E2C1A03B-4013-21C3-830F-E8D301FC9A50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6" creationId="{198383C1-8BE6-4297-2F68-65F139569518}"/>
          </ac:spMkLst>
        </pc:spChg>
        <pc:picChg chg="add del mod">
          <ac:chgData name="Maurice Droll" userId="S::drma1025@h-ka.de::306cf624-762e-4805-b567-51d64146fa42" providerId="AD" clId="Web-{8F9D384A-08E8-00C7-CB5A-A43CF671CF05}" dt="2024-01-15T18:04:36.531" v="83"/>
          <ac:picMkLst>
            <pc:docMk/>
            <pc:sldMk cId="105000510" sldId="1102"/>
            <ac:picMk id="7" creationId="{C637D433-7671-2258-E10E-7DE9715D6C89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04:55.453" v="85"/>
          <ac:picMkLst>
            <pc:docMk/>
            <pc:sldMk cId="105000510" sldId="1102"/>
            <ac:picMk id="8" creationId="{CF713B3F-2CDF-8738-EF7F-20C707955501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1.330" v="143"/>
          <ac:picMkLst>
            <pc:docMk/>
            <pc:sldMk cId="105000510" sldId="1102"/>
            <ac:picMk id="9" creationId="{38A007D6-D175-6B39-9EE8-41D9E8F8ED0F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4.799" v="144"/>
          <ac:picMkLst>
            <pc:docMk/>
            <pc:sldMk cId="105000510" sldId="1102"/>
            <ac:picMk id="10" creationId="{11EA6DC1-BB33-40A9-B59B-9B46853C72B5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7.799" v="145"/>
          <ac:picMkLst>
            <pc:docMk/>
            <pc:sldMk cId="105000510" sldId="1102"/>
            <ac:picMk id="11" creationId="{3F01A124-2A57-0190-389A-2630C19E028A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4:43.193" v="132" actId="1076"/>
          <ac:picMkLst>
            <pc:docMk/>
            <pc:sldMk cId="105000510" sldId="1102"/>
            <ac:picMk id="12" creationId="{3B5DC5A6-F667-1692-0C4D-48954876E196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19:44.187" v="139"/>
          <ac:picMkLst>
            <pc:docMk/>
            <pc:sldMk cId="105000510" sldId="1102"/>
            <ac:picMk id="13" creationId="{309869FC-2DB4-E817-A83A-975E02319076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9:57.375" v="142" actId="1076"/>
          <ac:picMkLst>
            <pc:docMk/>
            <pc:sldMk cId="105000510" sldId="1102"/>
            <ac:picMk id="14" creationId="{C0B93AC2-DB70-E7B9-A7EA-8E95BC8F8592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hkabw-my.sharepoint.com/personal/andreas_schmitt_hka_bwedu_de/Documents/HS%20Karlsruhe/1.%20Semester/Roboterprogrammierung/Projekt/Git/RKIM23RobotProgramDS/03_Auswertung/Auswertung_Daten_Roundtrip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Durchführungszeit</a:t>
            </a:r>
          </a:p>
          <a:p>
            <a:pPr>
              <a:defRPr/>
            </a:pPr>
            <a:r>
              <a:rPr lang="de-DE"/>
              <a:t>(2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8.8755131267514928E-2"/>
          <c:y val="0.17155030154515832"/>
          <c:w val="0.88346710175589771"/>
          <c:h val="0.680422699390157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uswertung Zeit'!$B$3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B$4:$B$9</c:f>
              <c:numCache>
                <c:formatCode>General</c:formatCode>
                <c:ptCount val="6"/>
                <c:pt idx="0">
                  <c:v>0.32862109184265137</c:v>
                </c:pt>
                <c:pt idx="1">
                  <c:v>0.37935432434082034</c:v>
                </c:pt>
                <c:pt idx="2">
                  <c:v>0.34864507675170897</c:v>
                </c:pt>
                <c:pt idx="3">
                  <c:v>1.5926846408843993</c:v>
                </c:pt>
                <c:pt idx="4">
                  <c:v>0.54015295028686527</c:v>
                </c:pt>
                <c:pt idx="5">
                  <c:v>0.63789161682128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21-4D4E-8AC4-48E7BBA370F7}"/>
            </c:ext>
          </c:extLst>
        </c:ser>
        <c:ser>
          <c:idx val="1"/>
          <c:order val="1"/>
          <c:tx>
            <c:strRef>
              <c:f>'Auswertung Zeit'!$C$3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C$4:$C$9</c:f>
              <c:numCache>
                <c:formatCode>General</c:formatCode>
                <c:ptCount val="6"/>
                <c:pt idx="0">
                  <c:v>0.57051927566528315</c:v>
                </c:pt>
                <c:pt idx="1">
                  <c:v>0.41564347267150881</c:v>
                </c:pt>
                <c:pt idx="2">
                  <c:v>0.4815110397338867</c:v>
                </c:pt>
                <c:pt idx="3">
                  <c:v>11.180678730010987</c:v>
                </c:pt>
                <c:pt idx="4">
                  <c:v>2.5743553543090822</c:v>
                </c:pt>
                <c:pt idx="5">
                  <c:v>3.0445415744781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21-4D4E-8AC4-48E7BBA370F7}"/>
            </c:ext>
          </c:extLst>
        </c:ser>
        <c:ser>
          <c:idx val="2"/>
          <c:order val="2"/>
          <c:tx>
            <c:strRef>
              <c:f>'Auswertung Zeit'!$D$3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D$4:$D$9</c:f>
              <c:numCache>
                <c:formatCode>General</c:formatCode>
                <c:ptCount val="6"/>
                <c:pt idx="0">
                  <c:v>8.7017955780029299E-2</c:v>
                </c:pt>
                <c:pt idx="1">
                  <c:v>3.572775840759277E-2</c:v>
                </c:pt>
                <c:pt idx="2">
                  <c:v>0.13657225608825685</c:v>
                </c:pt>
                <c:pt idx="3">
                  <c:v>1.4649042510986328</c:v>
                </c:pt>
                <c:pt idx="4">
                  <c:v>0.7934916114807129</c:v>
                </c:pt>
                <c:pt idx="5">
                  <c:v>0.50354276657104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1-4D4E-8AC4-48E7BBA370F7}"/>
            </c:ext>
          </c:extLst>
        </c:ser>
        <c:ser>
          <c:idx val="3"/>
          <c:order val="3"/>
          <c:tx>
            <c:strRef>
              <c:f>'Auswertung Zeit'!$E$3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E$4:$E$9</c:f>
              <c:numCache>
                <c:formatCode>General</c:formatCode>
                <c:ptCount val="6"/>
                <c:pt idx="0">
                  <c:v>4.5981378555297853E-2</c:v>
                </c:pt>
                <c:pt idx="1">
                  <c:v>0.11489865303039551</c:v>
                </c:pt>
                <c:pt idx="2">
                  <c:v>8.4966096878051761E-2</c:v>
                </c:pt>
                <c:pt idx="3">
                  <c:v>0.37657675743103025</c:v>
                </c:pt>
                <c:pt idx="4">
                  <c:v>0.24460404396057128</c:v>
                </c:pt>
                <c:pt idx="5">
                  <c:v>0.1734053859710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21-4D4E-8AC4-48E7BBA37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5767360"/>
        <c:axId val="53892768"/>
      </c:barChart>
      <c:catAx>
        <c:axId val="8576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892768"/>
        <c:crosses val="autoZero"/>
        <c:auto val="1"/>
        <c:lblAlgn val="ctr"/>
        <c:lblOffset val="100"/>
        <c:noMultiLvlLbl val="0"/>
      </c:catAx>
      <c:valAx>
        <c:axId val="53892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Zeit [Sek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76736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Erfolgsrate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Erfolgreich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B$2:$B$7</c:f>
              <c:numCache>
                <c:formatCode>General</c:formatCode>
                <c:ptCount val="6"/>
                <c:pt idx="0">
                  <c:v>97.333333333333343</c:v>
                </c:pt>
                <c:pt idx="1">
                  <c:v>66.666666666666657</c:v>
                </c:pt>
                <c:pt idx="2">
                  <c:v>24</c:v>
                </c:pt>
                <c:pt idx="3">
                  <c:v>62.666666666666671</c:v>
                </c:pt>
                <c:pt idx="4">
                  <c:v>28.000000000000004</c:v>
                </c:pt>
                <c:pt idx="5">
                  <c:v>55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54-4216-894F-D04EBB50698B}"/>
            </c:ext>
          </c:extLst>
        </c:ser>
        <c:ser>
          <c:idx val="1"/>
          <c:order val="1"/>
          <c:tx>
            <c:strRef>
              <c:f>'Auswertung Erfolgreich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C$2:$C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98.666666666666671</c:v>
                </c:pt>
                <c:pt idx="5">
                  <c:v>99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54-4216-894F-D04EBB50698B}"/>
            </c:ext>
          </c:extLst>
        </c:ser>
        <c:ser>
          <c:idx val="2"/>
          <c:order val="2"/>
          <c:tx>
            <c:strRef>
              <c:f>'Auswertung Erfolgreich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D$2:$D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54-4216-894F-D04EBB50698B}"/>
            </c:ext>
          </c:extLst>
        </c:ser>
        <c:ser>
          <c:idx val="3"/>
          <c:order val="3"/>
          <c:tx>
            <c:strRef>
              <c:f>'Auswertung Erfolgreich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E$2:$E$7</c:f>
              <c:numCache>
                <c:formatCode>General</c:formatCode>
                <c:ptCount val="6"/>
                <c:pt idx="0">
                  <c:v>100</c:v>
                </c:pt>
                <c:pt idx="1">
                  <c:v>92</c:v>
                </c:pt>
                <c:pt idx="2">
                  <c:v>45.333333333333329</c:v>
                </c:pt>
                <c:pt idx="3">
                  <c:v>81.333333333333329</c:v>
                </c:pt>
                <c:pt idx="4">
                  <c:v>12</c:v>
                </c:pt>
                <c:pt idx="5">
                  <c:v>66.133333333333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54-4216-894F-D04EBB506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7773039"/>
        <c:axId val="1900428191"/>
      </c:barChart>
      <c:catAx>
        <c:axId val="347773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00428191"/>
        <c:crosses val="autoZero"/>
        <c:auto val="1"/>
        <c:lblAlgn val="ctr"/>
        <c:lblOffset val="100"/>
        <c:noMultiLvlLbl val="0"/>
      </c:catAx>
      <c:valAx>
        <c:axId val="1900428191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Erfolgrate [%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47773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Größe der Roadmap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Nodes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B$2:$B$7</c:f>
              <c:numCache>
                <c:formatCode>General</c:formatCode>
                <c:ptCount val="6"/>
                <c:pt idx="0">
                  <c:v>207</c:v>
                </c:pt>
                <c:pt idx="1">
                  <c:v>206</c:v>
                </c:pt>
                <c:pt idx="2">
                  <c:v>206</c:v>
                </c:pt>
                <c:pt idx="3">
                  <c:v>206</c:v>
                </c:pt>
                <c:pt idx="4">
                  <c:v>205.97333333333333</c:v>
                </c:pt>
                <c:pt idx="5">
                  <c:v>206.194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70-47E5-886C-8F0BD5EF9CF1}"/>
            </c:ext>
          </c:extLst>
        </c:ser>
        <c:ser>
          <c:idx val="1"/>
          <c:order val="1"/>
          <c:tx>
            <c:strRef>
              <c:f>'Auswertung Nodes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C$2:$C$7</c:f>
              <c:numCache>
                <c:formatCode>General</c:formatCode>
                <c:ptCount val="6"/>
                <c:pt idx="0">
                  <c:v>30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300</c:v>
                </c:pt>
                <c:pt idx="5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70-47E5-886C-8F0BD5EF9CF1}"/>
            </c:ext>
          </c:extLst>
        </c:ser>
        <c:ser>
          <c:idx val="2"/>
          <c:order val="2"/>
          <c:tx>
            <c:strRef>
              <c:f>'Auswertung Nodes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D$2:$D$7</c:f>
              <c:numCache>
                <c:formatCode>General</c:formatCode>
                <c:ptCount val="6"/>
                <c:pt idx="0">
                  <c:v>7.24</c:v>
                </c:pt>
                <c:pt idx="1">
                  <c:v>6</c:v>
                </c:pt>
                <c:pt idx="2">
                  <c:v>8.0266666666666673</c:v>
                </c:pt>
                <c:pt idx="3">
                  <c:v>15.133333333333333</c:v>
                </c:pt>
                <c:pt idx="4">
                  <c:v>21.573333333333334</c:v>
                </c:pt>
                <c:pt idx="5">
                  <c:v>11.594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70-47E5-886C-8F0BD5EF9CF1}"/>
            </c:ext>
          </c:extLst>
        </c:ser>
        <c:ser>
          <c:idx val="3"/>
          <c:order val="3"/>
          <c:tx>
            <c:strRef>
              <c:f>'Auswertung Nodes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E$2:$E$7</c:f>
              <c:numCache>
                <c:formatCode>General</c:formatCode>
                <c:ptCount val="6"/>
                <c:pt idx="0">
                  <c:v>118.92</c:v>
                </c:pt>
                <c:pt idx="1">
                  <c:v>257.12</c:v>
                </c:pt>
                <c:pt idx="2">
                  <c:v>199.65333333333334</c:v>
                </c:pt>
                <c:pt idx="3">
                  <c:v>320.16000000000003</c:v>
                </c:pt>
                <c:pt idx="4">
                  <c:v>474.09333333333331</c:v>
                </c:pt>
                <c:pt idx="5">
                  <c:v>273.989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70-47E5-886C-8F0BD5EF9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6669471"/>
        <c:axId val="1750760719"/>
      </c:barChart>
      <c:catAx>
        <c:axId val="26666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50760719"/>
        <c:crosses val="autoZero"/>
        <c:auto val="1"/>
        <c:lblAlgn val="ctr"/>
        <c:lblOffset val="100"/>
        <c:noMultiLvlLbl val="0"/>
      </c:catAx>
      <c:valAx>
        <c:axId val="17507607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Anzahl Nod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66669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92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de-DE" b="1" dirty="0"/>
              <a:t>Pfadlänge</a:t>
            </a:r>
          </a:p>
          <a:p>
            <a:pPr>
              <a:defRPr/>
            </a:pPr>
            <a:r>
              <a:rPr lang="de-DE" dirty="0"/>
              <a:t>(13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92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Auswertung_Daten_Roundtrip.xlsx]Auswertung Pfadlänge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B$2:$B$7</c:f>
              <c:numCache>
                <c:formatCode>General</c:formatCode>
                <c:ptCount val="6"/>
                <c:pt idx="0">
                  <c:v>51.615384615384613</c:v>
                </c:pt>
                <c:pt idx="1">
                  <c:v>50.625</c:v>
                </c:pt>
                <c:pt idx="2">
                  <c:v>42.75</c:v>
                </c:pt>
                <c:pt idx="3">
                  <c:v>60.5</c:v>
                </c:pt>
                <c:pt idx="4">
                  <c:v>38.666666666666664</c:v>
                </c:pt>
                <c:pt idx="5">
                  <c:v>51.305555555555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75-47D5-B506-F0114DCD8990}"/>
            </c:ext>
          </c:extLst>
        </c:ser>
        <c:ser>
          <c:idx val="1"/>
          <c:order val="1"/>
          <c:tx>
            <c:strRef>
              <c:f>'[Auswertung_Daten_Roundtrip.xlsx]Auswertung Pfadlänge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C$2:$C$7</c:f>
              <c:numCache>
                <c:formatCode>General</c:formatCode>
                <c:ptCount val="6"/>
                <c:pt idx="0">
                  <c:v>7.615384615384615</c:v>
                </c:pt>
                <c:pt idx="1">
                  <c:v>8.1538461538461533</c:v>
                </c:pt>
                <c:pt idx="2">
                  <c:v>9.0769230769230766</c:v>
                </c:pt>
                <c:pt idx="3">
                  <c:v>14.461538461538462</c:v>
                </c:pt>
                <c:pt idx="4">
                  <c:v>15.076923076923077</c:v>
                </c:pt>
                <c:pt idx="5">
                  <c:v>10.87692307692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75-47D5-B506-F0114DCD8990}"/>
            </c:ext>
          </c:extLst>
        </c:ser>
        <c:ser>
          <c:idx val="2"/>
          <c:order val="2"/>
          <c:tx>
            <c:strRef>
              <c:f>'[Auswertung_Daten_Roundtrip.xlsx]Auswertung Pfadlänge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D$2:$D$7</c:f>
              <c:numCache>
                <c:formatCode>General</c:formatCode>
                <c:ptCount val="6"/>
                <c:pt idx="0">
                  <c:v>7.9230769230769234</c:v>
                </c:pt>
                <c:pt idx="1">
                  <c:v>8.0769230769230766</c:v>
                </c:pt>
                <c:pt idx="2">
                  <c:v>9.0769230769230766</c:v>
                </c:pt>
                <c:pt idx="3">
                  <c:v>16.23076923076923</c:v>
                </c:pt>
                <c:pt idx="4">
                  <c:v>15.307692307692308</c:v>
                </c:pt>
                <c:pt idx="5">
                  <c:v>11.323076923076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75-47D5-B506-F0114DCD8990}"/>
            </c:ext>
          </c:extLst>
        </c:ser>
        <c:ser>
          <c:idx val="3"/>
          <c:order val="3"/>
          <c:tx>
            <c:strRef>
              <c:f>'[Auswertung_Daten_Roundtrip.xlsx]Auswertung Pfadlänge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E$2:$E$7</c:f>
              <c:numCache>
                <c:formatCode>General</c:formatCode>
                <c:ptCount val="6"/>
                <c:pt idx="0">
                  <c:v>13.461538461538462</c:v>
                </c:pt>
                <c:pt idx="1">
                  <c:v>16.23076923076923</c:v>
                </c:pt>
                <c:pt idx="2">
                  <c:v>15.2</c:v>
                </c:pt>
                <c:pt idx="3">
                  <c:v>21.1</c:v>
                </c:pt>
                <c:pt idx="4">
                  <c:v>19.333333333333332</c:v>
                </c:pt>
                <c:pt idx="5">
                  <c:v>16.613636363636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75-47D5-B506-F0114DCD8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321487"/>
        <c:axId val="2122195103"/>
      </c:barChart>
      <c:catAx>
        <c:axId val="84321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22195103"/>
        <c:crosses val="autoZero"/>
        <c:auto val="1"/>
        <c:lblAlgn val="ctr"/>
        <c:lblOffset val="100"/>
        <c:noMultiLvlLbl val="0"/>
      </c:catAx>
      <c:valAx>
        <c:axId val="21221951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Pfadlänge [Schritte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4321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BAF5B-C937-F24D-AEEE-A25B9820327F}" type="datetimeFigureOut">
              <a:rPr lang="de-DE" smtClean="0"/>
              <a:t>25.0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617D1-29C8-0E45-8484-7D1179CDBF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1555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16EEFE-D067-4349-B2E2-591BB1E476CB}" type="datetimeFigureOut">
              <a:rPr lang="de-DE" smtClean="0"/>
              <a:pPr/>
              <a:t>2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48D173-51C1-41A8-B41F-93B487EE5C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679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B29597-2BA2-49DD-9D50-C072983A6E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7B6C39-95E1-42F8-934A-005D36AF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56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173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456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199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184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D1DECE-4D64-4F20-AED1-115409D2DB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1B2BB-53E5-48C8-885B-92A57BA671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977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4CD4FC-A85E-4387-A85C-692D3A3749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F39532-5A50-4BC3-A967-F7DA996134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134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37273C-A882-4134-B841-C4EBE62DB4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763479-22DA-422D-8744-332560338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0715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C6C608-A3BD-41E2-8503-5E1CC580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C92514-7FD6-4B50-8F6D-E260B9EAF3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703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BF0F57-3810-4ABC-81E9-F284DE33FD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A31E9D-908D-4C86-9B85-ADF3BDBDBA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398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B27049-5180-4E56-9D04-7B47507277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8660F2-25EB-4B71-9D89-BA83311BDB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24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99D7F4-EBBA-4733-A275-7927AB1754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FDDB72-DB28-4F1E-9975-1C2A5488D1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635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46FD76-897E-478D-BBDE-CFA49EE8EA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EB273C-5955-46C8-BB8A-8D9AE9C1B8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903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14676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2" y="980730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1" y="1879303"/>
            <a:ext cx="10157679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35731" indent="-135731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659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51694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35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3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9296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919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2BCD-2402-4A6F-9966-FFB1021916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D9B34F-584D-4E59-A29D-817CD07F42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08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E0406B-E9DB-41B9-91DD-6E876B1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F91F61-F512-4A71-A00F-084B75A29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0850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5" indent="0" algn="ctr">
              <a:buNone/>
              <a:defRPr/>
            </a:lvl2pPr>
            <a:lvl3pPr marL="914308" indent="0" algn="ctr">
              <a:buNone/>
              <a:defRPr/>
            </a:lvl3pPr>
            <a:lvl4pPr marL="1371463" indent="0" algn="ctr">
              <a:buNone/>
              <a:defRPr/>
            </a:lvl4pPr>
            <a:lvl5pPr marL="1828617" indent="0" algn="ctr">
              <a:buNone/>
              <a:defRPr/>
            </a:lvl5pPr>
            <a:lvl6pPr marL="2285772" indent="0" algn="ctr">
              <a:buNone/>
              <a:defRPr/>
            </a:lvl6pPr>
            <a:lvl7pPr marL="2742925" indent="0" algn="ctr">
              <a:buNone/>
              <a:defRPr/>
            </a:lvl7pPr>
            <a:lvl8pPr marL="3200080" indent="0" algn="ctr">
              <a:buNone/>
              <a:defRPr/>
            </a:lvl8pPr>
            <a:lvl9pPr marL="365723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096A4D-21EC-493B-9169-691F7E254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17C216-CDD7-4905-9E21-A6D7799E3A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742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945D5E-90DB-4B83-B528-ABF27FB847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F700CA-F695-4E50-9814-ECB2ACFBC9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4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0EF-093A-4092-8E66-397F64880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33F125-5742-4790-9101-707271CB84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66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BD87080F-5271-2927-685E-3A63D890F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69427" y="6366298"/>
            <a:ext cx="6539011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10651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321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w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9701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7772400" imgH="10058400" progId="TCLayout.ActiveDocument.1">
                  <p:embed/>
                </p:oleObj>
              </mc:Choice>
              <mc:Fallback>
                <p:oleObj name="think-cell Folie" r:id="rId12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5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FC3CE225-3EAA-4496-BC66-F52D2CB7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72" r:id="rId5"/>
    <p:sldLayoutId id="2147483678" r:id="rId6"/>
    <p:sldLayoutId id="2147483679" r:id="rId7"/>
    <p:sldLayoutId id="2147483680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013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2903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  <p:sldLayoutId id="2147483702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6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ACAEF8EA-B335-4EAA-A13C-03C50E47D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344093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385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2BFC551-9DB8-4BAB-B6B4-62F5F6909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408" y="1782084"/>
            <a:ext cx="10363200" cy="1470025"/>
          </a:xfrm>
        </p:spPr>
        <p:txBody>
          <a:bodyPr/>
          <a:lstStyle/>
          <a:p>
            <a:pPr algn="ctr"/>
            <a:r>
              <a:rPr lang="de-DE" sz="4800" b="1"/>
              <a:t>Aufgabe 5 – </a:t>
            </a:r>
            <a:r>
              <a:rPr lang="de-DE" sz="4800" b="1" err="1"/>
              <a:t>Roundtrip</a:t>
            </a:r>
            <a:r>
              <a:rPr lang="de-DE" sz="4800" b="1"/>
              <a:t>-Path Planner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AA139CD-735D-4AB8-9FCE-080BDC8207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537857"/>
            <a:ext cx="8534400" cy="2162907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r>
              <a:rPr lang="de-DE" sz="2800" b="1" dirty="0"/>
              <a:t>Roboterprogrammierung (RKIM121)</a:t>
            </a:r>
          </a:p>
          <a:p>
            <a:r>
              <a:rPr lang="de-DE" sz="2800" dirty="0"/>
              <a:t>Professor Hein</a:t>
            </a:r>
            <a:endParaRPr lang="de-DE" sz="2800" dirty="0">
              <a:cs typeface="Calibri"/>
            </a:endParaRPr>
          </a:p>
          <a:p>
            <a:endParaRPr lang="de-DE" sz="2800"/>
          </a:p>
          <a:p>
            <a:r>
              <a:rPr lang="de-DE" sz="2800" dirty="0"/>
              <a:t>Maurice Droll - 91711</a:t>
            </a:r>
            <a:endParaRPr lang="de-DE" sz="2800" dirty="0">
              <a:cs typeface="Calibri"/>
            </a:endParaRPr>
          </a:p>
          <a:p>
            <a:r>
              <a:rPr lang="de-DE" sz="2800" dirty="0"/>
              <a:t>Andreas Schmitt – 91342</a:t>
            </a:r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r>
              <a:rPr lang="de-DE" sz="2800" dirty="0">
                <a:cs typeface="Calibri"/>
              </a:rPr>
              <a:t>16.01.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A0CF6D-C744-42AF-A6EB-5FAE6838D8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791930" y="6366298"/>
            <a:ext cx="6458705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A5153A-4C99-473C-9771-07C48BDFB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2490" y="6366298"/>
            <a:ext cx="1069909" cy="365125"/>
          </a:xfrm>
        </p:spPr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3399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AF695791-3B01-DCE6-C787-4BE655F03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5667662"/>
              </p:ext>
            </p:extLst>
          </p:nvPr>
        </p:nvGraphicFramePr>
        <p:xfrm>
          <a:off x="1295467" y="1071154"/>
          <a:ext cx="10286932" cy="5055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99566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6" y="303392"/>
            <a:ext cx="10286933" cy="562074"/>
          </a:xfrm>
        </p:spPr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E744F85-9F12-01F6-E25A-9FBC56D818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8405885"/>
              </p:ext>
            </p:extLst>
          </p:nvPr>
        </p:nvGraphicFramePr>
        <p:xfrm>
          <a:off x="1295467" y="1090749"/>
          <a:ext cx="10286932" cy="500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88925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596ECFA4-3E20-975E-9F8A-010B6EACD8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0805006"/>
              </p:ext>
            </p:extLst>
          </p:nvPr>
        </p:nvGraphicFramePr>
        <p:xfrm>
          <a:off x="1295467" y="956299"/>
          <a:ext cx="10286931" cy="52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70799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ECDDF-2C9D-28BB-46DB-34D51B9E1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Zusammenfassung der Auswert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667D36-4B9A-28CE-BD4E-ADC6B132524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42BCF0-2A3C-3204-FD59-3DAFEDD57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5203963A-C5C3-6F70-FBE0-4435FACB91BD}"/>
              </a:ext>
            </a:extLst>
          </p:cNvPr>
          <p:cNvSpPr/>
          <p:nvPr/>
        </p:nvSpPr>
        <p:spPr>
          <a:xfrm>
            <a:off x="2712720" y="1032263"/>
            <a:ext cx="6766561" cy="4577516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EDAC4D1-E27B-0914-BBBE-300F06BA3716}"/>
              </a:ext>
            </a:extLst>
          </p:cNvPr>
          <p:cNvCxnSpPr>
            <a:cxnSpLocks/>
            <a:stCxn id="6" idx="1"/>
            <a:endCxn id="6" idx="5"/>
          </p:cNvCxnSpPr>
          <p:nvPr/>
        </p:nvCxnSpPr>
        <p:spPr>
          <a:xfrm>
            <a:off x="4404360" y="3321021"/>
            <a:ext cx="3383281" cy="0"/>
          </a:xfrm>
          <a:prstGeom prst="line">
            <a:avLst/>
          </a:prstGeom>
          <a:ln w="254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63322B6-94D4-ED7B-9DB9-C51F4DEDA8B7}"/>
              </a:ext>
            </a:extLst>
          </p:cNvPr>
          <p:cNvCxnSpPr>
            <a:cxnSpLocks/>
          </p:cNvCxnSpPr>
          <p:nvPr/>
        </p:nvCxnSpPr>
        <p:spPr>
          <a:xfrm flipV="1">
            <a:off x="6096000" y="3321021"/>
            <a:ext cx="0" cy="2288758"/>
          </a:xfrm>
          <a:prstGeom prst="line">
            <a:avLst/>
          </a:prstGeom>
          <a:ln w="25400">
            <a:solidFill>
              <a:schemeClr val="bg2">
                <a:lumMod val="25000"/>
                <a:alpha val="9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728A2E8-9672-C378-23C2-FF39E4D7D9CA}"/>
              </a:ext>
            </a:extLst>
          </p:cNvPr>
          <p:cNvSpPr txBox="1"/>
          <p:nvPr/>
        </p:nvSpPr>
        <p:spPr>
          <a:xfrm>
            <a:off x="5310596" y="2286001"/>
            <a:ext cx="15708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Visibilit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59EB997-06C3-CB0C-49A3-7621598262D6}"/>
              </a:ext>
            </a:extLst>
          </p:cNvPr>
          <p:cNvSpPr txBox="1"/>
          <p:nvPr/>
        </p:nvSpPr>
        <p:spPr>
          <a:xfrm>
            <a:off x="6609332" y="4257960"/>
            <a:ext cx="15708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Laz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E30ABCE-7C1B-19CE-B033-9D97D73B76E2}"/>
              </a:ext>
            </a:extLst>
          </p:cNvPr>
          <p:cNvSpPr txBox="1"/>
          <p:nvPr/>
        </p:nvSpPr>
        <p:spPr>
          <a:xfrm>
            <a:off x="4109425" y="4243425"/>
            <a:ext cx="13748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>
                <a:solidFill>
                  <a:schemeClr val="bg2"/>
                </a:solidFill>
                <a:cs typeface="Calibri"/>
              </a:rPr>
              <a:t>Basic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1158FE8-20B5-5B08-F7D1-90158D149937}"/>
              </a:ext>
            </a:extLst>
          </p:cNvPr>
          <p:cNvCxnSpPr>
            <a:cxnSpLocks/>
          </p:cNvCxnSpPr>
          <p:nvPr/>
        </p:nvCxnSpPr>
        <p:spPr>
          <a:xfrm flipV="1">
            <a:off x="2465024" y="1036126"/>
            <a:ext cx="3374312" cy="4573653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A3F7D684-0942-3988-4B52-D887711E92A6}"/>
              </a:ext>
            </a:extLst>
          </p:cNvPr>
          <p:cNvSpPr txBox="1"/>
          <p:nvPr/>
        </p:nvSpPr>
        <p:spPr>
          <a:xfrm rot="18394882">
            <a:off x="3366936" y="3058964"/>
            <a:ext cx="1189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2">
                    <a:lumMod val="50000"/>
                  </a:schemeClr>
                </a:solidFill>
              </a:rPr>
              <a:t>Erfolgsrate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5BC9ACC-1861-A9E9-B854-1BD88689FB38}"/>
              </a:ext>
            </a:extLst>
          </p:cNvPr>
          <p:cNvCxnSpPr>
            <a:cxnSpLocks/>
          </p:cNvCxnSpPr>
          <p:nvPr/>
        </p:nvCxnSpPr>
        <p:spPr>
          <a:xfrm>
            <a:off x="2603500" y="5785920"/>
            <a:ext cx="6875781" cy="0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66CFD7AE-B0DE-5184-63A1-F791958ED358}"/>
              </a:ext>
            </a:extLst>
          </p:cNvPr>
          <p:cNvSpPr txBox="1"/>
          <p:nvPr/>
        </p:nvSpPr>
        <p:spPr>
          <a:xfrm>
            <a:off x="4887191" y="5803372"/>
            <a:ext cx="2417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>
                <a:solidFill>
                  <a:schemeClr val="bg2">
                    <a:lumMod val="50000"/>
                  </a:schemeClr>
                </a:solidFill>
              </a:rPr>
              <a:t>Geschwindigkeit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05A4B35F-E828-4B9C-312B-4CDD73496BFB}"/>
              </a:ext>
            </a:extLst>
          </p:cNvPr>
          <p:cNvSpPr/>
          <p:nvPr/>
        </p:nvSpPr>
        <p:spPr>
          <a:xfrm>
            <a:off x="984790" y="1054574"/>
            <a:ext cx="2895060" cy="22271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, jedoch weniger als bei „Standard“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Visibilit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und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Laz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PRM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de-DE" sz="1600"/>
          </a:p>
        </p:txBody>
      </p:sp>
      <p:pic>
        <p:nvPicPr>
          <p:cNvPr id="61" name="Grafik 60" descr="Pfeil mit einer Linie: Leichte Kurve mit einfarbiger Füllung">
            <a:extLst>
              <a:ext uri="{FF2B5EF4-FFF2-40B4-BE49-F238E27FC236}">
                <a16:creationId xmlns:a16="http://schemas.microsoft.com/office/drawing/2014/main" id="{B877E92D-DE29-15D1-2676-428879F94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429376">
            <a:off x="1628649" y="3304099"/>
            <a:ext cx="1272554" cy="1272554"/>
          </a:xfrm>
          <a:prstGeom prst="rect">
            <a:avLst/>
          </a:prstGeom>
        </p:spPr>
      </p:pic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8D10BACD-4F99-6513-DEE7-A7812218AC0B}"/>
              </a:ext>
            </a:extLst>
          </p:cNvPr>
          <p:cNvSpPr/>
          <p:nvPr/>
        </p:nvSpPr>
        <p:spPr>
          <a:xfrm>
            <a:off x="8044305" y="1054574"/>
            <a:ext cx="3538092" cy="1904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Längste Durchführungszeit, nach Optimierung jedoch wesentlich g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öch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Viele Nodes, nach Optimierung jedoch sehr wenige Nodes. Reduzierung um 96,1 %.</a:t>
            </a:r>
          </a:p>
        </p:txBody>
      </p:sp>
      <p:pic>
        <p:nvPicPr>
          <p:cNvPr id="67" name="Grafik 66" descr="Pfeil mit einer Linie: Leichte Kurve mit einfarbiger Füllung">
            <a:extLst>
              <a:ext uri="{FF2B5EF4-FFF2-40B4-BE49-F238E27FC236}">
                <a16:creationId xmlns:a16="http://schemas.microsoft.com/office/drawing/2014/main" id="{69C14714-BBB1-B075-C3B0-306E4FBAC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8439365">
            <a:off x="6997706" y="1308500"/>
            <a:ext cx="930298" cy="930298"/>
          </a:xfrm>
          <a:prstGeom prst="rect">
            <a:avLst/>
          </a:prstGeom>
        </p:spPr>
      </p:pic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AD29BFE2-69BD-CFC8-4FD2-A772EB3108FE}"/>
              </a:ext>
            </a:extLst>
          </p:cNvPr>
          <p:cNvSpPr/>
          <p:nvPr/>
        </p:nvSpPr>
        <p:spPr>
          <a:xfrm>
            <a:off x="8966199" y="3240600"/>
            <a:ext cx="2832100" cy="11872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</a:t>
            </a:r>
          </a:p>
        </p:txBody>
      </p:sp>
      <p:pic>
        <p:nvPicPr>
          <p:cNvPr id="69" name="Grafik 68" descr="Pfeil mit einer Linie: Leichte Kurve mit einfarbiger Füllung">
            <a:extLst>
              <a:ext uri="{FF2B5EF4-FFF2-40B4-BE49-F238E27FC236}">
                <a16:creationId xmlns:a16="http://schemas.microsoft.com/office/drawing/2014/main" id="{58F7331E-6D2E-FAE2-1EF0-193CA9D3F6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156622" flipV="1">
            <a:off x="9245841" y="4294272"/>
            <a:ext cx="1142556" cy="114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199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4107B4B-9F72-84D2-EA78-63D00C77B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Herausforderungen eines </a:t>
            </a:r>
            <a:r>
              <a:rPr lang="de-DE" b="1" err="1"/>
              <a:t>Roundtrip</a:t>
            </a:r>
            <a:r>
              <a:rPr lang="de-DE" b="1"/>
              <a:t> Path Planner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9CD25A-4A7E-C531-4F3C-E4B3D5F65A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6792F4-7012-1436-AD60-C39F9F93E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86A39DE1-121B-AE6D-3AD9-1B7513E8ED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455826"/>
              </p:ext>
            </p:extLst>
          </p:nvPr>
        </p:nvGraphicFramePr>
        <p:xfrm>
          <a:off x="1295467" y="1196752"/>
          <a:ext cx="10286931" cy="41764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2261">
                  <a:extLst>
                    <a:ext uri="{9D8B030D-6E8A-4147-A177-3AD203B41FA5}">
                      <a16:colId xmlns:a16="http://schemas.microsoft.com/office/drawing/2014/main" val="214830441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838038674"/>
                    </a:ext>
                  </a:extLst>
                </a:gridCol>
                <a:gridCol w="4190254">
                  <a:extLst>
                    <a:ext uri="{9D8B030D-6E8A-4147-A177-3AD203B41FA5}">
                      <a16:colId xmlns:a16="http://schemas.microsoft.com/office/drawing/2014/main" val="3432163268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r>
                        <a:rPr lang="de-DE" b="1"/>
                        <a:t>Herausford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Ursa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Lös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14339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Anfälligkeit für Endlosschlei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Änderung des Zwischenzi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Erkennung eines Schleifenmusters, anschließend „manuelle“ Anpassung des nächsten Zielpunk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39037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Duplikate in Lösungspf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Aktualisierung des Versuchspfads, dadurch Mehrfachnutzung von Nodes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Optimierung der Teilabschnitte des Lösungspfads durch Entfernung von Duplika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757281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554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2909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BCD8115-239F-EA1E-4987-888F20D60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b="1" err="1">
                <a:cs typeface="Calibri"/>
              </a:rPr>
              <a:t>Vielen</a:t>
            </a:r>
            <a:r>
              <a:rPr lang="en-US" sz="4000" b="1">
                <a:cs typeface="Calibri"/>
              </a:rPr>
              <a:t> Dank für </a:t>
            </a:r>
            <a:r>
              <a:rPr lang="en-US" sz="4000" b="1" err="1">
                <a:cs typeface="Calibri"/>
              </a:rPr>
              <a:t>eure</a:t>
            </a:r>
            <a:r>
              <a:rPr lang="en-US" sz="4000" b="1">
                <a:cs typeface="Calibri"/>
              </a:rPr>
              <a:t> </a:t>
            </a:r>
            <a:r>
              <a:rPr lang="en-US" sz="4000" b="1" err="1">
                <a:cs typeface="Calibri"/>
              </a:rPr>
              <a:t>Aufmerksamkeit</a:t>
            </a:r>
            <a:r>
              <a:rPr lang="en-US" sz="4000" b="1">
                <a:cs typeface="Calibri"/>
              </a:rPr>
              <a:t>!</a:t>
            </a:r>
            <a:endParaRPr lang="de-DE" sz="4000" b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EF5A8-56F7-F33B-23D7-6B6D62104F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Gibt</a:t>
            </a:r>
            <a:r>
              <a:rPr lang="en-US">
                <a:cs typeface="Calibri"/>
              </a:rPr>
              <a:t> es </a:t>
            </a:r>
            <a:r>
              <a:rPr lang="en-US" err="1">
                <a:cs typeface="Calibri"/>
              </a:rPr>
              <a:t>noch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ragen</a:t>
            </a:r>
            <a:r>
              <a:rPr lang="en-US">
                <a:cs typeface="Calibri"/>
              </a:rPr>
              <a:t>?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2C74A-36FC-D0F6-6CBC-FA79BFFDFC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A5F7E-B2AD-7018-F87E-C19B7C973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239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B796783-ACEB-DC0C-855A-471943A51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1124881"/>
            <a:ext cx="4323982" cy="453636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C56CB1-D69B-B0F9-515C-AC29B276B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gabenstell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37EFA70-C4C9-326F-CCD6-A5393B370F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mplementierung eine </a:t>
            </a:r>
            <a:r>
              <a:rPr lang="de-DE" err="1"/>
              <a:t>Roundtrip</a:t>
            </a:r>
            <a:r>
              <a:rPr lang="de-DE"/>
              <a:t> Path Planners</a:t>
            </a:r>
          </a:p>
          <a:p>
            <a:pPr marL="629920" lvl="1"/>
            <a:endParaRPr lang="de-DE" b="1">
              <a:cs typeface="Calibri"/>
            </a:endParaRPr>
          </a:p>
          <a:p>
            <a:pPr marL="629920" lvl="1"/>
            <a:r>
              <a:rPr lang="de-DE" b="1"/>
              <a:t>Gegeb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Startpositionen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Endpositionen (Zwischenziele)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lgorithm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Basic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Visibilit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Laz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usgabe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Kollisionsfreier Pfad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Alle Endpositionen erreicht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 dirty="0"/>
              <a:t>Spezielle Variante des </a:t>
            </a:r>
            <a:r>
              <a:rPr lang="de-DE" b="1" err="1"/>
              <a:t>Visibility</a:t>
            </a:r>
            <a:r>
              <a:rPr lang="de-DE" b="1" dirty="0"/>
              <a:t> PRMs</a:t>
            </a:r>
            <a:endParaRPr lang="de-DE" b="1"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715382-EA65-5E6F-96EE-0252E8961F5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3ECE9B-DB68-C3DB-4386-4BBB8AC9C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68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Basic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636A417-C9F9-BEC1-EDB8-B104FDC69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397" y="2376872"/>
            <a:ext cx="3532949" cy="37064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EFD822-F0D6-BBBE-6251-8C0E87573559}"/>
              </a:ext>
            </a:extLst>
          </p:cNvPr>
          <p:cNvSpPr/>
          <p:nvPr/>
        </p:nvSpPr>
        <p:spPr>
          <a:xfrm>
            <a:off x="5675923" y="1035538"/>
            <a:ext cx="1641230" cy="654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517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CE5FCC-0B44-36C5-B783-13255A183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376" y="2340593"/>
            <a:ext cx="3566536" cy="374171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16549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CE8D6-1CF8-AC50-8F29-AD328D82E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945391F-F142-2DF7-18E6-0D739F70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 </a:t>
            </a:r>
            <a:r>
              <a:rPr lang="de-DE" b="1" err="1"/>
              <a:t>Visibility</a:t>
            </a:r>
            <a:r>
              <a:rPr lang="de-DE" b="1"/>
              <a:t> PRM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8032CF-2BDF-24A5-223D-43588DD941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4911F9-FC0C-1E75-B1BF-ABE08FBF9E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A0C1B4-452A-7DC3-F398-4FD55EFBD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591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05B5957-93C3-42E1-FF67-1C376FA76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90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Grafik 10" descr="Pfeil nach rechts mit einfarbiger Füllung">
            <a:extLst>
              <a:ext uri="{FF2B5EF4-FFF2-40B4-BE49-F238E27FC236}">
                <a16:creationId xmlns:a16="http://schemas.microsoft.com/office/drawing/2014/main" id="{88F84AEF-1126-109F-FD11-3BC20F38A0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2645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69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421702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Angepasste Funktion „</a:t>
            </a:r>
            <a:r>
              <a:rPr lang="de-DE" err="1"/>
              <a:t>LearnRoadmap</a:t>
            </a:r>
            <a:r>
              <a:rPr lang="de-DE"/>
              <a:t>"</a:t>
            </a:r>
          </a:p>
          <a:p>
            <a:r>
              <a:rPr lang="de-DE"/>
              <a:t>Effizientere Node-Erzeugung</a:t>
            </a:r>
            <a:endParaRPr lang="de-DE">
              <a:ea typeface="Calibri"/>
              <a:cs typeface="Calibri"/>
            </a:endParaRPr>
          </a:p>
          <a:p>
            <a:r>
              <a:rPr lang="de-DE"/>
              <a:t>Kürzere Ausführungszeit bei Roadmap-Erstellung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592F87C-B783-479B-BB70-21B4684F8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057" y="1516742"/>
            <a:ext cx="3797622" cy="365211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E57EC7B-DFD6-3C44-1207-7AF78E762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0184" y="3189048"/>
            <a:ext cx="2622847" cy="27516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981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Laz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512568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nitiale Roadmap bereits aufgebaut</a:t>
            </a:r>
          </a:p>
          <a:p>
            <a:r>
              <a:rPr lang="de-DE"/>
              <a:t>Start &amp; Zwischenziele bereits in Graph</a:t>
            </a:r>
            <a:endParaRPr lang="de-DE">
              <a:ea typeface="Calibri"/>
              <a:cs typeface="Calibri"/>
            </a:endParaRPr>
          </a:p>
          <a:p>
            <a:endParaRPr lang="de-DE"/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Grafik 2" descr="Ein Bild, das Text, Screenshot, Diagramm, Display enthält.&#10;&#10;Automatisch generierte Beschreibung">
            <a:extLst>
              <a:ext uri="{FF2B5EF4-FFF2-40B4-BE49-F238E27FC236}">
                <a16:creationId xmlns:a16="http://schemas.microsoft.com/office/drawing/2014/main" id="{C2F50365-7FB8-5DDE-F84C-820B43765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116486"/>
            <a:ext cx="5330353" cy="495550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A1C6F1-9E18-04A8-687A-8CF287371E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624" y="2722121"/>
            <a:ext cx="3193033" cy="334986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49516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41703-1F97-DF24-4C01-C47367B6B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Calibri"/>
              </a:rPr>
              <a:t>Benchmark-Umgebungen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1A03B-4013-21C3-830F-E8D301FC9A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383C1-8BE6-4297-2F68-65F1395695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A007D6-D175-6B39-9EE8-41D9E8F8E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66" y="1074615"/>
            <a:ext cx="2401152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EA6DC1-BB33-40A9-B59B-9B46853C7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405" y="1074614"/>
            <a:ext cx="2401151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01A124-2A57-0190-389A-2630C19E0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2444" y="1088414"/>
            <a:ext cx="2401152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5DC5A6-F667-1692-0C4D-48954876E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8979" y="3708136"/>
            <a:ext cx="2357965" cy="24617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B93AC2-DB70-E7B9-A7EA-8E95BC8F85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9017" y="3713455"/>
            <a:ext cx="2357965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5000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CA22F5D4-F383-A44D-1771-2225E2C676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3128952"/>
              </p:ext>
            </p:extLst>
          </p:nvPr>
        </p:nvGraphicFramePr>
        <p:xfrm>
          <a:off x="1295467" y="1064624"/>
          <a:ext cx="10286932" cy="5035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1135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heme/theme1.xml><?xml version="1.0" encoding="utf-8"?>
<a:theme xmlns:a="http://schemas.openxmlformats.org/drawingml/2006/main" name="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2.xml><?xml version="1.0" encoding="utf-8"?>
<a:theme xmlns:a="http://schemas.openxmlformats.org/drawingml/2006/main" name="1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3.xml><?xml version="1.0" encoding="utf-8"?>
<a:theme xmlns:a="http://schemas.openxmlformats.org/drawingml/2006/main" name="2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4.xml><?xml version="1.0" encoding="utf-8"?>
<a:theme xmlns:a="http://schemas.openxmlformats.org/drawingml/2006/main" name="3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C2842835FA02438A0FB962A13B2A78" ma:contentTypeVersion="3" ma:contentTypeDescription="Create a new document." ma:contentTypeScope="" ma:versionID="1e312e2959bbe439e665698d9e225f3c">
  <xsd:schema xmlns:xsd="http://www.w3.org/2001/XMLSchema" xmlns:xs="http://www.w3.org/2001/XMLSchema" xmlns:p="http://schemas.microsoft.com/office/2006/metadata/properties" xmlns:ns2="e80bb1ea-c95b-40bf-97ee-7d998f77c632" targetNamespace="http://schemas.microsoft.com/office/2006/metadata/properties" ma:root="true" ma:fieldsID="1ac8c1847c15f7fa9ec798a1885a81c4" ns2:_="">
    <xsd:import namespace="e80bb1ea-c95b-40bf-97ee-7d998f77c6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bb1ea-c95b-40bf-97ee-7d998f77c6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F44BE-C2C5-4787-957B-1824D484367A}">
  <ds:schemaRefs>
    <ds:schemaRef ds:uri="e80bb1ea-c95b-40bf-97ee-7d998f77c6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3E665D-698E-4775-ADE9-474D9FE9637E}">
  <ds:schemaRefs>
    <ds:schemaRef ds:uri="e80bb1ea-c95b-40bf-97ee-7d998f77c6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09FD1BC-BCFB-4B0E-BA58-8AFBCADC57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SKA Master</Template>
  <TotalTime>0</TotalTime>
  <Words>432</Words>
  <Application>Microsoft Office PowerPoint</Application>
  <PresentationFormat>Breitbild</PresentationFormat>
  <Paragraphs>116</Paragraphs>
  <Slides>15</Slides>
  <Notes>0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Wingdings</vt:lpstr>
      <vt:lpstr>HSKA Master</vt:lpstr>
      <vt:lpstr>1_HSKA Master</vt:lpstr>
      <vt:lpstr>2_HSKA Master</vt:lpstr>
      <vt:lpstr>3_HSKA Master</vt:lpstr>
      <vt:lpstr>think-cell Folie</vt:lpstr>
      <vt:lpstr>Aufgabe 5 – Roundtrip-Path Planner</vt:lpstr>
      <vt:lpstr>Aufgabenstellung</vt:lpstr>
      <vt:lpstr>Aufbau Pfadplanung Basic PRM</vt:lpstr>
      <vt:lpstr>Aufbau Pfadplanung Visibility PRM</vt:lpstr>
      <vt:lpstr>Spezielle Variante Visibility PRM</vt:lpstr>
      <vt:lpstr>Spezielle Variante Visibility PRM</vt:lpstr>
      <vt:lpstr>Aufbau Pfadplanung Lazy PRM</vt:lpstr>
      <vt:lpstr>Benchmark-Umgebungen</vt:lpstr>
      <vt:lpstr>Auswertung der Algorithmen</vt:lpstr>
      <vt:lpstr>Auswertung der Algorithmen</vt:lpstr>
      <vt:lpstr>Auswertung der Algorithmen</vt:lpstr>
      <vt:lpstr>Auswertung der Algorithmen</vt:lpstr>
      <vt:lpstr>Zusammenfassung der Auswertung</vt:lpstr>
      <vt:lpstr>Herausforderungen eines Roundtrip Path Planners</vt:lpstr>
      <vt:lpstr>Vielen Dank für eu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s Schmitt</dc:creator>
  <cp:lastModifiedBy>Andreas Schmitt</cp:lastModifiedBy>
  <cp:revision>3</cp:revision>
  <cp:lastPrinted>2015-12-16T12:49:14Z</cp:lastPrinted>
  <dcterms:created xsi:type="dcterms:W3CDTF">2019-10-01T03:21:19Z</dcterms:created>
  <dcterms:modified xsi:type="dcterms:W3CDTF">2024-01-25T11:5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C2842835FA02438A0FB962A13B2A78</vt:lpwstr>
  </property>
</Properties>
</file>